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8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310.xml" ContentType="application/vnd.openxmlformats-officedocument.presentationml.tags+xml"/>
  <Override PartName="/ppt/notesSlides/notesSlide2.xml" ContentType="application/vnd.openxmlformats-officedocument.presentationml.notesSlide+xml"/>
  <Override PartName="/ppt/tags/tag3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12.xml" ContentType="application/vnd.openxmlformats-officedocument.presentationml.tags+xml"/>
  <Override PartName="/ppt/notesSlides/notesSlide6.xml" ContentType="application/vnd.openxmlformats-officedocument.presentationml.notesSlide+xml"/>
  <Override PartName="/ppt/tags/tag313.xml" ContentType="application/vnd.openxmlformats-officedocument.presentationml.tags+xml"/>
  <Override PartName="/ppt/notesSlides/notesSlide7.xml" ContentType="application/vnd.openxmlformats-officedocument.presentationml.notesSlide+xml"/>
  <Override PartName="/ppt/tags/tag31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698" r:id="rId3"/>
    <p:sldMasterId id="2147483712" r:id="rId4"/>
    <p:sldMasterId id="2147483725" r:id="rId5"/>
    <p:sldMasterId id="2147483738" r:id="rId6"/>
  </p:sldMasterIdLst>
  <p:notesMasterIdLst>
    <p:notesMasterId r:id="rId21"/>
  </p:notesMasterIdLst>
  <p:sldIdLst>
    <p:sldId id="2147472900" r:id="rId7"/>
    <p:sldId id="292" r:id="rId8"/>
    <p:sldId id="2147472909" r:id="rId9"/>
    <p:sldId id="2147473092" r:id="rId10"/>
    <p:sldId id="2147473101" r:id="rId11"/>
    <p:sldId id="2147473099" r:id="rId12"/>
    <p:sldId id="2147473100" r:id="rId13"/>
    <p:sldId id="2147473098" r:id="rId14"/>
    <p:sldId id="2147473093" r:id="rId15"/>
    <p:sldId id="2147473104" r:id="rId16"/>
    <p:sldId id="2147473095" r:id="rId17"/>
    <p:sldId id="2147473089" r:id="rId18"/>
    <p:sldId id="2147473107" r:id="rId19"/>
    <p:sldId id="2147473105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8" autoAdjust="0"/>
    <p:restoredTop sz="80392" autoAdjust="0"/>
  </p:normalViewPr>
  <p:slideViewPr>
    <p:cSldViewPr snapToGrid="0">
      <p:cViewPr varScale="1">
        <p:scale>
          <a:sx n="45" d="100"/>
          <a:sy n="45" d="100"/>
        </p:scale>
        <p:origin x="1496" y="3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tma Alsagaf" userId="ef587b5e-378a-4bb3-aa9f-3c15b98138a4" providerId="ADAL" clId="{3F5618C8-8D5E-4E2B-8F0D-3AAFE622726E}"/>
    <pc:docChg chg="undo redo custSel addSld delSld modSld sldOrd modMainMaster">
      <pc:chgData name="Fatma Alsagaf" userId="ef587b5e-378a-4bb3-aa9f-3c15b98138a4" providerId="ADAL" clId="{3F5618C8-8D5E-4E2B-8F0D-3AAFE622726E}" dt="2024-07-02T13:10:19.364" v="11429"/>
      <pc:docMkLst>
        <pc:docMk/>
      </pc:docMkLst>
      <pc:sldChg chg="delSp add mod setBg modNotes modNotesTx">
        <pc:chgData name="Fatma Alsagaf" userId="ef587b5e-378a-4bb3-aa9f-3c15b98138a4" providerId="ADAL" clId="{3F5618C8-8D5E-4E2B-8F0D-3AAFE622726E}" dt="2024-07-02T13:10:17.595" v="11428" actId="21"/>
        <pc:sldMkLst>
          <pc:docMk/>
          <pc:sldMk cId="3459152550" sldId="279"/>
        </pc:sldMkLst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11" creationId="{4AA4A04A-DD46-4C3D-A563-B22D605C9CAC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12" creationId="{4551AEB9-6636-45BE-A33E-6653E6365BD6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13" creationId="{0F81B825-772B-4DF7-9A64-961DF19198D4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14" creationId="{2B340D53-2003-49F7-9D6B-8A410C2167F4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15" creationId="{C2F08D8A-6FFD-40ED-B2EF-AE519C1DBD82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19" creationId="{0951481A-7C17-4E46-8D1D-F150FF680CD4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20" creationId="{E1EDE877-62AA-4F01-87BD-238FB0916CBF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24" creationId="{7EC46FC1-3058-46F0-B15C-94CF3CD3FFE5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25" creationId="{B5942232-0477-4547-A411-30CDCB9727C8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26" creationId="{CB357F12-2AE1-47A5-B1D3-9BD5B8E6B78D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27" creationId="{A92D2C56-99C9-4C45-AB7A-842D89C6DB43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28" creationId="{85D3EDE4-C751-439E-AEB0-B352DD42CCF1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35" creationId="{5272B662-DAB8-4471-A98A-B1BFB88AFC6E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36" creationId="{64FC182C-9CC3-485D-B1E2-186E9F1A08BC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37" creationId="{C35BCF58-751B-409B-A153-892B642E8EB4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38" creationId="{5EB2158A-F9A5-4644-8119-9CE4A1971E69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39" creationId="{5523B0AE-8F17-4369-8310-220ECADDE833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0" creationId="{28A5F8FE-EB60-4E3C-84B5-3DDA7AB438AC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2" creationId="{984955E2-F87A-4489-B40F-38CC8C0936BC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3" creationId="{673B8C64-0CE8-43E7-A2D2-E029F44DE0EF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5" creationId="{3BFEED98-7FC7-4D0F-B80C-1D405789354E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6" creationId="{6AED6F87-0097-475D-B69A-5BF077C12059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8" creationId="{B6181E68-DC88-4395-BC4E-BA2E6745AA64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49" creationId="{11BF81E0-64D0-4D23-9A72-9676EC21A45C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51" creationId="{FB9770B8-0540-4E5C-9C9F-A0DFB337C0E2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52" creationId="{979A3AFB-BD06-437D-936C-B160D5F25C7B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54" creationId="{67ABEED0-3CE7-4EAF-B01A-12F483341F9B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55" creationId="{60017A8C-D03A-4D29-A454-4B9C76AC34BE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57" creationId="{0F63B6DC-7B24-4E27-90DE-76B9A42FAF8A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58" creationId="{9A4EBA10-E9CA-4B2F-A3B4-2ADCBB475B55}"/>
          </ac:spMkLst>
        </pc:spChg>
        <pc:spChg chg="del">
          <ac:chgData name="Fatma Alsagaf" userId="ef587b5e-378a-4bb3-aa9f-3c15b98138a4" providerId="ADAL" clId="{3F5618C8-8D5E-4E2B-8F0D-3AAFE622726E}" dt="2024-07-02T13:09:35.743" v="11408" actId="478"/>
          <ac:spMkLst>
            <pc:docMk/>
            <pc:sldMk cId="3459152550" sldId="279"/>
            <ac:spMk id="75" creationId="{E853B4B3-126C-4185-803D-F15E08FB0182}"/>
          </ac:spMkLst>
        </pc:spChg>
        <pc:spChg chg="del">
          <ac:chgData name="Fatma Alsagaf" userId="ef587b5e-378a-4bb3-aa9f-3c15b98138a4" providerId="ADAL" clId="{3F5618C8-8D5E-4E2B-8F0D-3AAFE622726E}" dt="2024-07-02T13:10:17.595" v="11428" actId="21"/>
          <ac:spMkLst>
            <pc:docMk/>
            <pc:sldMk cId="3459152550" sldId="279"/>
            <ac:spMk id="76" creationId="{51959D38-CE1A-4105-8807-41154269C86A}"/>
          </ac:spMkLst>
        </pc:spChg>
        <pc:grpChg chg="del">
          <ac:chgData name="Fatma Alsagaf" userId="ef587b5e-378a-4bb3-aa9f-3c15b98138a4" providerId="ADAL" clId="{3F5618C8-8D5E-4E2B-8F0D-3AAFE622726E}" dt="2024-07-02T13:10:17.595" v="11428" actId="21"/>
          <ac:grpSpMkLst>
            <pc:docMk/>
            <pc:sldMk cId="3459152550" sldId="279"/>
            <ac:grpSpMk id="210" creationId="{C038CABE-84D0-4BEF-BCA1-B4838A003801}"/>
          </ac:grpSpMkLst>
        </pc:grpChg>
        <pc:picChg chg="del">
          <ac:chgData name="Fatma Alsagaf" userId="ef587b5e-378a-4bb3-aa9f-3c15b98138a4" providerId="ADAL" clId="{3F5618C8-8D5E-4E2B-8F0D-3AAFE622726E}" dt="2024-07-02T13:10:17.595" v="11428" actId="21"/>
          <ac:picMkLst>
            <pc:docMk/>
            <pc:sldMk cId="3459152550" sldId="279"/>
            <ac:picMk id="9" creationId="{00957519-0139-4D42-A536-CA791D90B2DB}"/>
          </ac:picMkLst>
        </pc:picChg>
        <pc:picChg chg="del">
          <ac:chgData name="Fatma Alsagaf" userId="ef587b5e-378a-4bb3-aa9f-3c15b98138a4" providerId="ADAL" clId="{3F5618C8-8D5E-4E2B-8F0D-3AAFE622726E}" dt="2024-07-02T13:10:17.595" v="11428" actId="21"/>
          <ac:picMkLst>
            <pc:docMk/>
            <pc:sldMk cId="3459152550" sldId="279"/>
            <ac:picMk id="60" creationId="{0AC021B8-CC6D-4423-94EC-0C541F59D5A3}"/>
          </ac:picMkLst>
        </pc:picChg>
        <pc:picChg chg="del">
          <ac:chgData name="Fatma Alsagaf" userId="ef587b5e-378a-4bb3-aa9f-3c15b98138a4" providerId="ADAL" clId="{3F5618C8-8D5E-4E2B-8F0D-3AAFE622726E}" dt="2024-07-02T13:10:17.595" v="11428" actId="21"/>
          <ac:picMkLst>
            <pc:docMk/>
            <pc:sldMk cId="3459152550" sldId="279"/>
            <ac:picMk id="62" creationId="{1CDC86D3-A5B4-4DF5-BBFC-0587CE20C5AB}"/>
          </ac:picMkLst>
        </pc:picChg>
        <pc:picChg chg="del">
          <ac:chgData name="Fatma Alsagaf" userId="ef587b5e-378a-4bb3-aa9f-3c15b98138a4" providerId="ADAL" clId="{3F5618C8-8D5E-4E2B-8F0D-3AAFE622726E}" dt="2024-07-02T13:10:17.595" v="11428" actId="21"/>
          <ac:picMkLst>
            <pc:docMk/>
            <pc:sldMk cId="3459152550" sldId="279"/>
            <ac:picMk id="64" creationId="{ED5BFAD5-9C5C-44A9-B065-490200F49789}"/>
          </ac:picMkLst>
        </pc:picChg>
        <pc:picChg chg="del">
          <ac:chgData name="Fatma Alsagaf" userId="ef587b5e-378a-4bb3-aa9f-3c15b98138a4" providerId="ADAL" clId="{3F5618C8-8D5E-4E2B-8F0D-3AAFE622726E}" dt="2024-07-02T13:10:17.595" v="11428" actId="21"/>
          <ac:picMkLst>
            <pc:docMk/>
            <pc:sldMk cId="3459152550" sldId="279"/>
            <ac:picMk id="66" creationId="{9E4FCF13-7439-4345-836A-A6366C598FE0}"/>
          </ac:picMkLst>
        </pc:picChg>
        <pc:picChg chg="del">
          <ac:chgData name="Fatma Alsagaf" userId="ef587b5e-378a-4bb3-aa9f-3c15b98138a4" providerId="ADAL" clId="{3F5618C8-8D5E-4E2B-8F0D-3AAFE622726E}" dt="2024-07-02T13:10:17.595" v="11428" actId="21"/>
          <ac:picMkLst>
            <pc:docMk/>
            <pc:sldMk cId="3459152550" sldId="279"/>
            <ac:picMk id="68" creationId="{8B6AF5B5-13C8-4AA0-BB8A-82263911936F}"/>
          </ac:picMkLst>
        </pc:picChg>
      </pc:sldChg>
      <pc:sldChg chg="addSp delSp modSp add mod modNotesTx">
        <pc:chgData name="Fatma Alsagaf" userId="ef587b5e-378a-4bb3-aa9f-3c15b98138a4" providerId="ADAL" clId="{3F5618C8-8D5E-4E2B-8F0D-3AAFE622726E}" dt="2024-07-02T07:04:12.832" v="10582" actId="20577"/>
        <pc:sldMkLst>
          <pc:docMk/>
          <pc:sldMk cId="3358114200" sldId="292"/>
        </pc:sldMkLst>
        <pc:spChg chg="mod">
          <ac:chgData name="Fatma Alsagaf" userId="ef587b5e-378a-4bb3-aa9f-3c15b98138a4" providerId="ADAL" clId="{3F5618C8-8D5E-4E2B-8F0D-3AAFE622726E}" dt="2024-06-19T11:27:32.625" v="720"/>
          <ac:spMkLst>
            <pc:docMk/>
            <pc:sldMk cId="3358114200" sldId="292"/>
            <ac:spMk id="2" creationId="{CEBE68B3-3D2B-26E7-8D09-AB06B6160E64}"/>
          </ac:spMkLst>
        </pc:spChg>
        <pc:spChg chg="del">
          <ac:chgData name="Fatma Alsagaf" userId="ef587b5e-378a-4bb3-aa9f-3c15b98138a4" providerId="ADAL" clId="{3F5618C8-8D5E-4E2B-8F0D-3AAFE622726E}" dt="2024-06-19T11:18:39.108" v="150" actId="478"/>
          <ac:spMkLst>
            <pc:docMk/>
            <pc:sldMk cId="3358114200" sldId="292"/>
            <ac:spMk id="4" creationId="{0A0E0096-260B-50A7-69B4-45955EDB8598}"/>
          </ac:spMkLst>
        </pc:spChg>
        <pc:spChg chg="mod">
          <ac:chgData name="Fatma Alsagaf" userId="ef587b5e-378a-4bb3-aa9f-3c15b98138a4" providerId="ADAL" clId="{3F5618C8-8D5E-4E2B-8F0D-3AAFE622726E}" dt="2024-06-19T11:31:35.015" v="778" actId="1076"/>
          <ac:spMkLst>
            <pc:docMk/>
            <pc:sldMk cId="3358114200" sldId="292"/>
            <ac:spMk id="5" creationId="{DA7A2B57-5F04-B672-BFA3-33D21356CE8A}"/>
          </ac:spMkLst>
        </pc:spChg>
        <pc:spChg chg="del mod">
          <ac:chgData name="Fatma Alsagaf" userId="ef587b5e-378a-4bb3-aa9f-3c15b98138a4" providerId="ADAL" clId="{3F5618C8-8D5E-4E2B-8F0D-3AAFE622726E}" dt="2024-06-19T11:20:06.386" v="237" actId="478"/>
          <ac:spMkLst>
            <pc:docMk/>
            <pc:sldMk cId="3358114200" sldId="292"/>
            <ac:spMk id="6" creationId="{0617EF25-74CA-2D71-A06E-7AC6D2A2FCB9}"/>
          </ac:spMkLst>
        </pc:spChg>
        <pc:spChg chg="del">
          <ac:chgData name="Fatma Alsagaf" userId="ef587b5e-378a-4bb3-aa9f-3c15b98138a4" providerId="ADAL" clId="{3F5618C8-8D5E-4E2B-8F0D-3AAFE622726E}" dt="2024-06-19T11:20:24.235" v="252" actId="478"/>
          <ac:spMkLst>
            <pc:docMk/>
            <pc:sldMk cId="3358114200" sldId="292"/>
            <ac:spMk id="7" creationId="{75A6C831-79CD-D5E9-F697-A6BA9B6CE9AF}"/>
          </ac:spMkLst>
        </pc:spChg>
        <pc:spChg chg="del">
          <ac:chgData name="Fatma Alsagaf" userId="ef587b5e-378a-4bb3-aa9f-3c15b98138a4" providerId="ADAL" clId="{3F5618C8-8D5E-4E2B-8F0D-3AAFE622726E}" dt="2024-06-19T11:20:07.627" v="238" actId="478"/>
          <ac:spMkLst>
            <pc:docMk/>
            <pc:sldMk cId="3358114200" sldId="292"/>
            <ac:spMk id="8" creationId="{16B38DBD-DAFD-ABA6-35B5-F5CCC2329C1B}"/>
          </ac:spMkLst>
        </pc:spChg>
        <pc:spChg chg="del">
          <ac:chgData name="Fatma Alsagaf" userId="ef587b5e-378a-4bb3-aa9f-3c15b98138a4" providerId="ADAL" clId="{3F5618C8-8D5E-4E2B-8F0D-3AAFE622726E}" dt="2024-06-19T11:18:40.601" v="151" actId="478"/>
          <ac:spMkLst>
            <pc:docMk/>
            <pc:sldMk cId="3358114200" sldId="292"/>
            <ac:spMk id="9" creationId="{118B21D1-B312-9BA9-AFD8-64C5219FFCDA}"/>
          </ac:spMkLst>
        </pc:spChg>
        <pc:spChg chg="add del mod">
          <ac:chgData name="Fatma Alsagaf" userId="ef587b5e-378a-4bb3-aa9f-3c15b98138a4" providerId="ADAL" clId="{3F5618C8-8D5E-4E2B-8F0D-3AAFE622726E}" dt="2024-06-19T11:18:21.969" v="145" actId="478"/>
          <ac:spMkLst>
            <pc:docMk/>
            <pc:sldMk cId="3358114200" sldId="292"/>
            <ac:spMk id="10" creationId="{AF12CF5D-9F8D-ECB8-768F-34D20D38EC27}"/>
          </ac:spMkLst>
        </pc:spChg>
        <pc:spChg chg="del">
          <ac:chgData name="Fatma Alsagaf" userId="ef587b5e-378a-4bb3-aa9f-3c15b98138a4" providerId="ADAL" clId="{3F5618C8-8D5E-4E2B-8F0D-3AAFE622726E}" dt="2024-06-19T11:20:22.868" v="251" actId="478"/>
          <ac:spMkLst>
            <pc:docMk/>
            <pc:sldMk cId="3358114200" sldId="292"/>
            <ac:spMk id="17" creationId="{CC55C4C7-0569-56EE-CBC0-8FFE22531600}"/>
          </ac:spMkLst>
        </pc:spChg>
        <pc:spChg chg="add del mod">
          <ac:chgData name="Fatma Alsagaf" userId="ef587b5e-378a-4bb3-aa9f-3c15b98138a4" providerId="ADAL" clId="{3F5618C8-8D5E-4E2B-8F0D-3AAFE622726E}" dt="2024-06-19T11:18:41.513" v="152" actId="478"/>
          <ac:spMkLst>
            <pc:docMk/>
            <pc:sldMk cId="3358114200" sldId="292"/>
            <ac:spMk id="18" creationId="{AEAD423D-86E2-E4F8-2395-EB0EBFD9763E}"/>
          </ac:spMkLst>
        </pc:spChg>
        <pc:spChg chg="add del mod">
          <ac:chgData name="Fatma Alsagaf" userId="ef587b5e-378a-4bb3-aa9f-3c15b98138a4" providerId="ADAL" clId="{3F5618C8-8D5E-4E2B-8F0D-3AAFE622726E}" dt="2024-06-19T11:18:42.537" v="153" actId="478"/>
          <ac:spMkLst>
            <pc:docMk/>
            <pc:sldMk cId="3358114200" sldId="292"/>
            <ac:spMk id="20" creationId="{BE4D72AD-96E7-3DB2-838D-5B39E4BEA765}"/>
          </ac:spMkLst>
        </pc:spChg>
        <pc:spChg chg="add del mod">
          <ac:chgData name="Fatma Alsagaf" userId="ef587b5e-378a-4bb3-aa9f-3c15b98138a4" providerId="ADAL" clId="{3F5618C8-8D5E-4E2B-8F0D-3AAFE622726E}" dt="2024-06-19T11:20:09.452" v="239" actId="478"/>
          <ac:spMkLst>
            <pc:docMk/>
            <pc:sldMk cId="3358114200" sldId="292"/>
            <ac:spMk id="22" creationId="{253ED00F-0BCB-CB6E-C671-9FB570B211EA}"/>
          </ac:spMkLst>
        </pc:spChg>
        <pc:spChg chg="add del mod">
          <ac:chgData name="Fatma Alsagaf" userId="ef587b5e-378a-4bb3-aa9f-3c15b98138a4" providerId="ADAL" clId="{3F5618C8-8D5E-4E2B-8F0D-3AAFE622726E}" dt="2024-06-19T11:20:25.812" v="253" actId="478"/>
          <ac:spMkLst>
            <pc:docMk/>
            <pc:sldMk cId="3358114200" sldId="292"/>
            <ac:spMk id="24" creationId="{A44A8B73-0359-6BA4-352C-F216BC8FDA82}"/>
          </ac:spMkLst>
        </pc:spChg>
        <pc:spChg chg="add del mod">
          <ac:chgData name="Fatma Alsagaf" userId="ef587b5e-378a-4bb3-aa9f-3c15b98138a4" providerId="ADAL" clId="{3F5618C8-8D5E-4E2B-8F0D-3AAFE622726E}" dt="2024-06-19T11:22:42.308" v="450" actId="478"/>
          <ac:spMkLst>
            <pc:docMk/>
            <pc:sldMk cId="3358114200" sldId="292"/>
            <ac:spMk id="25" creationId="{00F6ADCD-226B-BEF1-F2B0-EC22D56AA80F}"/>
          </ac:spMkLst>
        </pc:spChg>
        <pc:spChg chg="add mod">
          <ac:chgData name="Fatma Alsagaf" userId="ef587b5e-378a-4bb3-aa9f-3c15b98138a4" providerId="ADAL" clId="{3F5618C8-8D5E-4E2B-8F0D-3AAFE622726E}" dt="2024-07-02T07:04:12.832" v="10582" actId="20577"/>
          <ac:spMkLst>
            <pc:docMk/>
            <pc:sldMk cId="3358114200" sldId="292"/>
            <ac:spMk id="26" creationId="{1E85372C-9AB9-32BE-40F2-489CA328D08F}"/>
          </ac:spMkLst>
        </pc:spChg>
        <pc:spChg chg="add del">
          <ac:chgData name="Fatma Alsagaf" userId="ef587b5e-378a-4bb3-aa9f-3c15b98138a4" providerId="ADAL" clId="{3F5618C8-8D5E-4E2B-8F0D-3AAFE622726E}" dt="2024-06-19T11:29:43.151" v="748" actId="478"/>
          <ac:spMkLst>
            <pc:docMk/>
            <pc:sldMk cId="3358114200" sldId="292"/>
            <ac:spMk id="27" creationId="{EB8AF501-2FCF-495D-891C-56E76783E826}"/>
          </ac:spMkLst>
        </pc:spChg>
        <pc:spChg chg="add del mod">
          <ac:chgData name="Fatma Alsagaf" userId="ef587b5e-378a-4bb3-aa9f-3c15b98138a4" providerId="ADAL" clId="{3F5618C8-8D5E-4E2B-8F0D-3AAFE622726E}" dt="2024-06-19T11:29:17.821" v="741"/>
          <ac:spMkLst>
            <pc:docMk/>
            <pc:sldMk cId="3358114200" sldId="292"/>
            <ac:spMk id="28" creationId="{0678C311-EABB-269B-2F63-414DF884D9F0}"/>
          </ac:spMkLst>
        </pc:spChg>
        <pc:spChg chg="add del mod">
          <ac:chgData name="Fatma Alsagaf" userId="ef587b5e-378a-4bb3-aa9f-3c15b98138a4" providerId="ADAL" clId="{3F5618C8-8D5E-4E2B-8F0D-3AAFE622726E}" dt="2024-06-19T11:30:45.518" v="768" actId="767"/>
          <ac:spMkLst>
            <pc:docMk/>
            <pc:sldMk cId="3358114200" sldId="292"/>
            <ac:spMk id="29" creationId="{625F98E1-0EF8-B27F-B361-3CAEED7366FE}"/>
          </ac:spMkLst>
        </pc:spChg>
        <pc:spChg chg="add mod">
          <ac:chgData name="Fatma Alsagaf" userId="ef587b5e-378a-4bb3-aa9f-3c15b98138a4" providerId="ADAL" clId="{3F5618C8-8D5E-4E2B-8F0D-3AAFE622726E}" dt="2024-06-19T11:31:35.015" v="778" actId="1076"/>
          <ac:spMkLst>
            <pc:docMk/>
            <pc:sldMk cId="3358114200" sldId="292"/>
            <ac:spMk id="30" creationId="{E1DAC783-6590-BF15-94B5-FD050DA1C913}"/>
          </ac:spMkLst>
        </pc:spChg>
        <pc:picChg chg="del">
          <ac:chgData name="Fatma Alsagaf" userId="ef587b5e-378a-4bb3-aa9f-3c15b98138a4" providerId="ADAL" clId="{3F5618C8-8D5E-4E2B-8F0D-3AAFE622726E}" dt="2024-06-19T11:17:13.390" v="142" actId="478"/>
          <ac:picMkLst>
            <pc:docMk/>
            <pc:sldMk cId="3358114200" sldId="292"/>
            <ac:picMk id="11" creationId="{ADDB826E-8949-A672-4FDB-6101D88E97E7}"/>
          </ac:picMkLst>
        </pc:picChg>
        <pc:picChg chg="add del mod">
          <ac:chgData name="Fatma Alsagaf" userId="ef587b5e-378a-4bb3-aa9f-3c15b98138a4" providerId="ADAL" clId="{3F5618C8-8D5E-4E2B-8F0D-3AAFE622726E}" dt="2024-06-19T11:18:20.797" v="144" actId="931"/>
          <ac:picMkLst>
            <pc:docMk/>
            <pc:sldMk cId="3358114200" sldId="292"/>
            <ac:picMk id="13" creationId="{B63A8443-991E-7B58-F992-17C470B1FF3B}"/>
          </ac:picMkLst>
        </pc:picChg>
        <pc:picChg chg="add mod">
          <ac:chgData name="Fatma Alsagaf" userId="ef587b5e-378a-4bb3-aa9f-3c15b98138a4" providerId="ADAL" clId="{3F5618C8-8D5E-4E2B-8F0D-3AAFE622726E}" dt="2024-06-19T11:31:35.015" v="778" actId="1076"/>
          <ac:picMkLst>
            <pc:docMk/>
            <pc:sldMk cId="3358114200" sldId="292"/>
            <ac:picMk id="15" creationId="{EF8A7B10-5FAB-740D-1BF6-71A62C7C6189}"/>
          </ac:picMkLst>
        </pc:picChg>
      </pc:sldChg>
      <pc:sldChg chg="addSp delSp modSp add del mod">
        <pc:chgData name="Fatma Alsagaf" userId="ef587b5e-378a-4bb3-aa9f-3c15b98138a4" providerId="ADAL" clId="{3F5618C8-8D5E-4E2B-8F0D-3AAFE622726E}" dt="2024-06-20T17:46:44.830" v="3097" actId="47"/>
        <pc:sldMkLst>
          <pc:docMk/>
          <pc:sldMk cId="168068641" sldId="304"/>
        </pc:sldMkLst>
        <pc:spChg chg="mod ord">
          <ac:chgData name="Fatma Alsagaf" userId="ef587b5e-378a-4bb3-aa9f-3c15b98138a4" providerId="ADAL" clId="{3F5618C8-8D5E-4E2B-8F0D-3AAFE622726E}" dt="2024-06-19T12:21:57.862" v="1363" actId="167"/>
          <ac:spMkLst>
            <pc:docMk/>
            <pc:sldMk cId="168068641" sldId="304"/>
            <ac:spMk id="2" creationId="{372EAF9A-E275-70C0-4B9A-3CB7F35C4987}"/>
          </ac:spMkLst>
        </pc:spChg>
        <pc:spChg chg="del mod">
          <ac:chgData name="Fatma Alsagaf" userId="ef587b5e-378a-4bb3-aa9f-3c15b98138a4" providerId="ADAL" clId="{3F5618C8-8D5E-4E2B-8F0D-3AAFE622726E}" dt="2024-06-19T12:21:59.526" v="1364" actId="478"/>
          <ac:spMkLst>
            <pc:docMk/>
            <pc:sldMk cId="168068641" sldId="304"/>
            <ac:spMk id="3" creationId="{4982A80E-75D0-4688-E3BF-6BAA4D24D310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5" creationId="{1DFE6F5E-2AB2-F96B-93E4-A5228464DB7F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6" creationId="{F765222A-27F2-448A-9DFB-BE12908A7245}"/>
          </ac:spMkLst>
        </pc:spChg>
        <pc:spChg chg="add del mod">
          <ac:chgData name="Fatma Alsagaf" userId="ef587b5e-378a-4bb3-aa9f-3c15b98138a4" providerId="ADAL" clId="{3F5618C8-8D5E-4E2B-8F0D-3AAFE622726E}" dt="2024-06-19T12:22:01.824" v="1365" actId="478"/>
          <ac:spMkLst>
            <pc:docMk/>
            <pc:sldMk cId="168068641" sldId="304"/>
            <ac:spMk id="7" creationId="{3BEEB6E6-5CC4-C503-A2B9-18009136E190}"/>
          </ac:spMkLst>
        </pc:spChg>
        <pc:spChg chg="add del mod">
          <ac:chgData name="Fatma Alsagaf" userId="ef587b5e-378a-4bb3-aa9f-3c15b98138a4" providerId="ADAL" clId="{3F5618C8-8D5E-4E2B-8F0D-3AAFE622726E}" dt="2024-06-20T16:41:46.471" v="2925" actId="21"/>
          <ac:spMkLst>
            <pc:docMk/>
            <pc:sldMk cId="168068641" sldId="304"/>
            <ac:spMk id="8" creationId="{04CFD332-F752-59F7-D74B-137AD1AED0F0}"/>
          </ac:spMkLst>
        </pc:spChg>
        <pc:spChg chg="del mod ord">
          <ac:chgData name="Fatma Alsagaf" userId="ef587b5e-378a-4bb3-aa9f-3c15b98138a4" providerId="ADAL" clId="{3F5618C8-8D5E-4E2B-8F0D-3AAFE622726E}" dt="2024-06-19T12:27:53.172" v="1481" actId="478"/>
          <ac:spMkLst>
            <pc:docMk/>
            <pc:sldMk cId="168068641" sldId="304"/>
            <ac:spMk id="9" creationId="{35A2F1F1-4AD7-5846-314C-C6049EAC2A48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11" creationId="{6A48FD59-FC8F-34F6-9C8B-E59C2B45725C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12" creationId="{42E7081C-2AE6-C0E1-1FBE-27E9BCD63641}"/>
          </ac:spMkLst>
        </pc:spChg>
        <pc:spChg chg="add del mod ord">
          <ac:chgData name="Fatma Alsagaf" userId="ef587b5e-378a-4bb3-aa9f-3c15b98138a4" providerId="ADAL" clId="{3F5618C8-8D5E-4E2B-8F0D-3AAFE622726E}" dt="2024-06-19T12:27:54.648" v="1482" actId="478"/>
          <ac:spMkLst>
            <pc:docMk/>
            <pc:sldMk cId="168068641" sldId="304"/>
            <ac:spMk id="13" creationId="{F31A2706-6A26-75FD-98C9-277EAA2FE223}"/>
          </ac:spMkLst>
        </pc:spChg>
        <pc:spChg chg="add del mod">
          <ac:chgData name="Fatma Alsagaf" userId="ef587b5e-378a-4bb3-aa9f-3c15b98138a4" providerId="ADAL" clId="{3F5618C8-8D5E-4E2B-8F0D-3AAFE622726E}" dt="2024-06-20T16:41:44.043" v="2922" actId="21"/>
          <ac:spMkLst>
            <pc:docMk/>
            <pc:sldMk cId="168068641" sldId="304"/>
            <ac:spMk id="14" creationId="{AD61DEBB-E088-104C-67ED-2D3233E47437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17" creationId="{08470CDA-FFE9-9B33-4C8A-BD10B2ACAADC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18" creationId="{8D4F55EE-5E1B-4295-1AB4-0C098B7D8E68}"/>
          </ac:spMkLst>
        </pc:spChg>
        <pc:spChg chg="add del mod ord">
          <ac:chgData name="Fatma Alsagaf" userId="ef587b5e-378a-4bb3-aa9f-3c15b98138a4" providerId="ADAL" clId="{3F5618C8-8D5E-4E2B-8F0D-3AAFE622726E}" dt="2024-06-20T07:27:26.883" v="2085" actId="478"/>
          <ac:spMkLst>
            <pc:docMk/>
            <pc:sldMk cId="168068641" sldId="304"/>
            <ac:spMk id="19" creationId="{B437C9BD-3F62-FB42-2354-22088E10CF2F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20" creationId="{FDEF0738-5414-91E2-1AA2-839D7AE018C3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23" creationId="{D3FB609C-68E2-B03E-089F-ECFD9F2DBA52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24" creationId="{D79B77DB-E7ED-5A22-92DF-3E82153BE02A}"/>
          </ac:spMkLst>
        </pc:spChg>
        <pc:spChg chg="add del mod ord">
          <ac:chgData name="Fatma Alsagaf" userId="ef587b5e-378a-4bb3-aa9f-3c15b98138a4" providerId="ADAL" clId="{3F5618C8-8D5E-4E2B-8F0D-3AAFE622726E}" dt="2024-06-20T07:27:06.418" v="2081" actId="478"/>
          <ac:spMkLst>
            <pc:docMk/>
            <pc:sldMk cId="168068641" sldId="304"/>
            <ac:spMk id="25" creationId="{759D8F44-538C-FD4A-3A9A-781F01A7BC11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26" creationId="{C9BF4282-DE2C-90C7-F818-8B8C1E63FE47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29" creationId="{99AB4CD0-C6E4-C76A-3201-993565A18CB8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30" creationId="{79ED629A-A99E-D206-094A-E5D63A8FA38B}"/>
          </ac:spMkLst>
        </pc:spChg>
        <pc:spChg chg="add del mod ord">
          <ac:chgData name="Fatma Alsagaf" userId="ef587b5e-378a-4bb3-aa9f-3c15b98138a4" providerId="ADAL" clId="{3F5618C8-8D5E-4E2B-8F0D-3AAFE622726E}" dt="2024-06-20T07:27:24.406" v="2084" actId="478"/>
          <ac:spMkLst>
            <pc:docMk/>
            <pc:sldMk cId="168068641" sldId="304"/>
            <ac:spMk id="31" creationId="{ECA9C2B1-B20C-EB43-2AC8-7476F5B72AC6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32" creationId="{9344DAA7-6A55-A9BC-BE96-45495DAFE773}"/>
          </ac:spMkLst>
        </pc:spChg>
        <pc:spChg chg="del mod">
          <ac:chgData name="Fatma Alsagaf" userId="ef587b5e-378a-4bb3-aa9f-3c15b98138a4" providerId="ADAL" clId="{3F5618C8-8D5E-4E2B-8F0D-3AAFE622726E}" dt="2024-06-19T12:25:57.716" v="1457" actId="478"/>
          <ac:spMkLst>
            <pc:docMk/>
            <pc:sldMk cId="168068641" sldId="304"/>
            <ac:spMk id="35" creationId="{C3901E2D-D215-024D-7E69-5A4179056B0A}"/>
          </ac:spMkLst>
        </pc:spChg>
        <pc:spChg chg="del mod">
          <ac:chgData name="Fatma Alsagaf" userId="ef587b5e-378a-4bb3-aa9f-3c15b98138a4" providerId="ADAL" clId="{3F5618C8-8D5E-4E2B-8F0D-3AAFE622726E}" dt="2024-06-19T12:25:59.194" v="1458" actId="478"/>
          <ac:spMkLst>
            <pc:docMk/>
            <pc:sldMk cId="168068641" sldId="304"/>
            <ac:spMk id="36" creationId="{B9340078-FAB4-A471-4C3B-612BB0CF38E8}"/>
          </ac:spMkLst>
        </pc:spChg>
        <pc:spChg chg="del mod">
          <ac:chgData name="Fatma Alsagaf" userId="ef587b5e-378a-4bb3-aa9f-3c15b98138a4" providerId="ADAL" clId="{3F5618C8-8D5E-4E2B-8F0D-3AAFE622726E}" dt="2024-06-19T12:26:00.578" v="1459" actId="478"/>
          <ac:spMkLst>
            <pc:docMk/>
            <pc:sldMk cId="168068641" sldId="304"/>
            <ac:spMk id="37" creationId="{B990E9A0-CF31-432A-D706-64B015A2BA93}"/>
          </ac:spMkLst>
        </pc:spChg>
        <pc:spChg chg="del mod">
          <ac:chgData name="Fatma Alsagaf" userId="ef587b5e-378a-4bb3-aa9f-3c15b98138a4" providerId="ADAL" clId="{3F5618C8-8D5E-4E2B-8F0D-3AAFE622726E}" dt="2024-06-19T12:26:02.622" v="1460" actId="478"/>
          <ac:spMkLst>
            <pc:docMk/>
            <pc:sldMk cId="168068641" sldId="304"/>
            <ac:spMk id="38" creationId="{2080DFB5-FA4D-39BD-7797-B60D5F886889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45" creationId="{F5171DCE-B90E-021B-383E-1F74FBC79707}"/>
          </ac:spMkLst>
        </pc:spChg>
        <pc:spChg chg="mod">
          <ac:chgData name="Fatma Alsagaf" userId="ef587b5e-378a-4bb3-aa9f-3c15b98138a4" providerId="ADAL" clId="{3F5618C8-8D5E-4E2B-8F0D-3AAFE622726E}" dt="2024-06-19T12:22:34.926" v="1371" actId="1076"/>
          <ac:spMkLst>
            <pc:docMk/>
            <pc:sldMk cId="168068641" sldId="304"/>
            <ac:spMk id="46" creationId="{AC8AB6DC-7EF0-0045-CF55-7131B5EF2284}"/>
          </ac:spMkLst>
        </pc:spChg>
        <pc:spChg chg="add del mod ord">
          <ac:chgData name="Fatma Alsagaf" userId="ef587b5e-378a-4bb3-aa9f-3c15b98138a4" providerId="ADAL" clId="{3F5618C8-8D5E-4E2B-8F0D-3AAFE622726E}" dt="2024-06-20T07:26:59.446" v="2079" actId="478"/>
          <ac:spMkLst>
            <pc:docMk/>
            <pc:sldMk cId="168068641" sldId="304"/>
            <ac:spMk id="47" creationId="{B672ACF7-17A1-8B44-157C-81B07DBF9DCC}"/>
          </ac:spMkLst>
        </pc:spChg>
        <pc:spChg chg="add del mod ord">
          <ac:chgData name="Fatma Alsagaf" userId="ef587b5e-378a-4bb3-aa9f-3c15b98138a4" providerId="ADAL" clId="{3F5618C8-8D5E-4E2B-8F0D-3AAFE622726E}" dt="2024-06-20T07:27:02.527" v="2080" actId="478"/>
          <ac:spMkLst>
            <pc:docMk/>
            <pc:sldMk cId="168068641" sldId="304"/>
            <ac:spMk id="51" creationId="{FCB1FF4D-43EC-5E92-AAD2-D7E2F69940C4}"/>
          </ac:spMkLst>
        </pc:spChg>
        <pc:spChg chg="add del mod">
          <ac:chgData name="Fatma Alsagaf" userId="ef587b5e-378a-4bb3-aa9f-3c15b98138a4" providerId="ADAL" clId="{3F5618C8-8D5E-4E2B-8F0D-3AAFE622726E}" dt="2024-06-20T07:26:59.446" v="2079" actId="478"/>
          <ac:spMkLst>
            <pc:docMk/>
            <pc:sldMk cId="168068641" sldId="304"/>
            <ac:spMk id="52" creationId="{AAE79231-FFC8-706C-EE9A-8E6623A5D057}"/>
          </ac:spMkLst>
        </pc:spChg>
        <pc:spChg chg="add mod">
          <ac:chgData name="Fatma Alsagaf" userId="ef587b5e-378a-4bb3-aa9f-3c15b98138a4" providerId="ADAL" clId="{3F5618C8-8D5E-4E2B-8F0D-3AAFE622726E}" dt="2024-06-20T07:27:33.193" v="2086" actId="1076"/>
          <ac:spMkLst>
            <pc:docMk/>
            <pc:sldMk cId="168068641" sldId="304"/>
            <ac:spMk id="53" creationId="{F001D2F8-12DC-B47F-457B-EEB435DA32D2}"/>
          </ac:spMkLst>
        </pc:spChg>
        <pc:grpChg chg="mod">
          <ac:chgData name="Fatma Alsagaf" userId="ef587b5e-378a-4bb3-aa9f-3c15b98138a4" providerId="ADAL" clId="{3F5618C8-8D5E-4E2B-8F0D-3AAFE622726E}" dt="2024-06-19T12:22:34.926" v="1371" actId="1076"/>
          <ac:grpSpMkLst>
            <pc:docMk/>
            <pc:sldMk cId="168068641" sldId="304"/>
            <ac:grpSpMk id="41" creationId="{2333BE17-2B98-C730-F923-F5417B1FEABA}"/>
          </ac:grpSpMkLst>
        </pc:grpChg>
        <pc:grpChg chg="mod">
          <ac:chgData name="Fatma Alsagaf" userId="ef587b5e-378a-4bb3-aa9f-3c15b98138a4" providerId="ADAL" clId="{3F5618C8-8D5E-4E2B-8F0D-3AAFE622726E}" dt="2024-06-19T12:22:34.926" v="1371" actId="1076"/>
          <ac:grpSpMkLst>
            <pc:docMk/>
            <pc:sldMk cId="168068641" sldId="304"/>
            <ac:grpSpMk id="42" creationId="{8AFEDD8D-D543-1B25-943C-DAF1AC534E23}"/>
          </ac:grpSpMkLst>
        </pc:grpChg>
        <pc:grpChg chg="mod">
          <ac:chgData name="Fatma Alsagaf" userId="ef587b5e-378a-4bb3-aa9f-3c15b98138a4" providerId="ADAL" clId="{3F5618C8-8D5E-4E2B-8F0D-3AAFE622726E}" dt="2024-06-19T12:22:34.926" v="1371" actId="1076"/>
          <ac:grpSpMkLst>
            <pc:docMk/>
            <pc:sldMk cId="168068641" sldId="304"/>
            <ac:grpSpMk id="50" creationId="{3FBC4584-0F26-C033-41FB-49B0CD2B1F8D}"/>
          </ac:grpSpMkLst>
        </pc:grpChg>
      </pc:sldChg>
      <pc:sldChg chg="addSp delSp modSp add del mod modNotesTx">
        <pc:chgData name="Fatma Alsagaf" userId="ef587b5e-378a-4bb3-aa9f-3c15b98138a4" providerId="ADAL" clId="{3F5618C8-8D5E-4E2B-8F0D-3AAFE622726E}" dt="2024-06-24T06:17:22.556" v="7564" actId="47"/>
        <pc:sldMkLst>
          <pc:docMk/>
          <pc:sldMk cId="1223332265" sldId="657"/>
        </pc:sldMkLst>
        <pc:spChg chg="del">
          <ac:chgData name="Fatma Alsagaf" userId="ef587b5e-378a-4bb3-aa9f-3c15b98138a4" providerId="ADAL" clId="{3F5618C8-8D5E-4E2B-8F0D-3AAFE622726E}" dt="2024-06-24T06:01:18.044" v="7279" actId="478"/>
          <ac:spMkLst>
            <pc:docMk/>
            <pc:sldMk cId="1223332265" sldId="657"/>
            <ac:spMk id="2" creationId="{4D8C1291-5268-40C6-B5AC-F55FED26984F}"/>
          </ac:spMkLst>
        </pc:spChg>
        <pc:spChg chg="add del mod">
          <ac:chgData name="Fatma Alsagaf" userId="ef587b5e-378a-4bb3-aa9f-3c15b98138a4" providerId="ADAL" clId="{3F5618C8-8D5E-4E2B-8F0D-3AAFE622726E}" dt="2024-06-24T06:01:18.925" v="7280" actId="478"/>
          <ac:spMkLst>
            <pc:docMk/>
            <pc:sldMk cId="1223332265" sldId="657"/>
            <ac:spMk id="4" creationId="{D48F03C4-546A-029F-4D56-47F2D9710EEC}"/>
          </ac:spMkLst>
        </pc:spChg>
        <pc:spChg chg="add del mod">
          <ac:chgData name="Fatma Alsagaf" userId="ef587b5e-378a-4bb3-aa9f-3c15b98138a4" providerId="ADAL" clId="{3F5618C8-8D5E-4E2B-8F0D-3AAFE622726E}" dt="2024-06-24T06:01:39.273" v="7284"/>
          <ac:spMkLst>
            <pc:docMk/>
            <pc:sldMk cId="1223332265" sldId="657"/>
            <ac:spMk id="5" creationId="{8C75C738-03CD-8644-4BDC-873205023C4C}"/>
          </ac:spMkLst>
        </pc:spChg>
        <pc:spChg chg="del mod">
          <ac:chgData name="Fatma Alsagaf" userId="ef587b5e-378a-4bb3-aa9f-3c15b98138a4" providerId="ADAL" clId="{3F5618C8-8D5E-4E2B-8F0D-3AAFE622726E}" dt="2024-06-24T06:01:16.834" v="7278" actId="478"/>
          <ac:spMkLst>
            <pc:docMk/>
            <pc:sldMk cId="1223332265" sldId="657"/>
            <ac:spMk id="17" creationId="{00000000-0000-0000-0000-000000000000}"/>
          </ac:spMkLst>
        </pc:spChg>
        <pc:spChg chg="del">
          <ac:chgData name="Fatma Alsagaf" userId="ef587b5e-378a-4bb3-aa9f-3c15b98138a4" providerId="ADAL" clId="{3F5618C8-8D5E-4E2B-8F0D-3AAFE622726E}" dt="2024-06-24T06:01:52.703" v="7289" actId="21"/>
          <ac:spMkLst>
            <pc:docMk/>
            <pc:sldMk cId="1223332265" sldId="657"/>
            <ac:spMk id="78" creationId="{BC9639A0-7697-45A4-8637-151429D7CC3B}"/>
          </ac:spMkLst>
        </pc:spChg>
        <pc:spChg chg="del">
          <ac:chgData name="Fatma Alsagaf" userId="ef587b5e-378a-4bb3-aa9f-3c15b98138a4" providerId="ADAL" clId="{3F5618C8-8D5E-4E2B-8F0D-3AAFE622726E}" dt="2024-06-24T06:01:52.703" v="7289" actId="21"/>
          <ac:spMkLst>
            <pc:docMk/>
            <pc:sldMk cId="1223332265" sldId="657"/>
            <ac:spMk id="79" creationId="{52E45423-485B-4965-A48F-30B61CEEF140}"/>
          </ac:spMkLst>
        </pc:spChg>
        <pc:spChg chg="del">
          <ac:chgData name="Fatma Alsagaf" userId="ef587b5e-378a-4bb3-aa9f-3c15b98138a4" providerId="ADAL" clId="{3F5618C8-8D5E-4E2B-8F0D-3AAFE622726E}" dt="2024-06-24T06:01:52.703" v="7289" actId="21"/>
          <ac:spMkLst>
            <pc:docMk/>
            <pc:sldMk cId="1223332265" sldId="657"/>
            <ac:spMk id="80" creationId="{7620851F-6B86-4B98-BC47-DAB6FD9D31A7}"/>
          </ac:spMkLst>
        </pc:spChg>
        <pc:spChg chg="del">
          <ac:chgData name="Fatma Alsagaf" userId="ef587b5e-378a-4bb3-aa9f-3c15b98138a4" providerId="ADAL" clId="{3F5618C8-8D5E-4E2B-8F0D-3AAFE622726E}" dt="2024-06-24T06:01:52.703" v="7289" actId="21"/>
          <ac:spMkLst>
            <pc:docMk/>
            <pc:sldMk cId="1223332265" sldId="657"/>
            <ac:spMk id="81" creationId="{31673A02-7656-49E3-B337-86D0FFD7E9EB}"/>
          </ac:spMkLst>
        </pc:spChg>
        <pc:spChg chg="del">
          <ac:chgData name="Fatma Alsagaf" userId="ef587b5e-378a-4bb3-aa9f-3c15b98138a4" providerId="ADAL" clId="{3F5618C8-8D5E-4E2B-8F0D-3AAFE622726E}" dt="2024-06-24T06:01:52.703" v="7289" actId="21"/>
          <ac:spMkLst>
            <pc:docMk/>
            <pc:sldMk cId="1223332265" sldId="657"/>
            <ac:spMk id="82" creationId="{41EA2D9E-2F57-49D2-ACB1-937169ADA01A}"/>
          </ac:spMkLst>
        </pc:spChg>
        <pc:spChg chg="del">
          <ac:chgData name="Fatma Alsagaf" userId="ef587b5e-378a-4bb3-aa9f-3c15b98138a4" providerId="ADAL" clId="{3F5618C8-8D5E-4E2B-8F0D-3AAFE622726E}" dt="2024-06-24T06:01:52.703" v="7289" actId="21"/>
          <ac:spMkLst>
            <pc:docMk/>
            <pc:sldMk cId="1223332265" sldId="657"/>
            <ac:spMk id="83" creationId="{41EA2D9E-2F57-49D2-ACB1-937169ADA01A}"/>
          </ac:spMkLst>
        </pc:s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54" creationId="{1A714254-0589-4A82-8819-5F3AB9943E32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58" creationId="{94607DF9-6B90-432B-B4EC-4E89F5CBEB87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62" creationId="{29E8A0F9-68A6-4B86-B069-869A7DFC8334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66" creationId="{126DE8E0-F401-4C58-AF5B-4000611EB414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70" creationId="{696756C1-1B12-4FD1-B396-7B857EFFDBB5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74" creationId="{C9CB80E1-A32C-41C6-8B63-8CFDA9C912D1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85" creationId="{F76D1F7A-019C-4100-AAD0-4ED851DCDE3B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94" creationId="{F0592856-7AC1-439C-B791-ADC1A97BE5C7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98" creationId="{255115EE-E065-4D02-9772-618E8B5003CC}"/>
          </ac:grpSpMkLst>
        </pc:grpChg>
        <pc:grpChg chg="del">
          <ac:chgData name="Fatma Alsagaf" userId="ef587b5e-378a-4bb3-aa9f-3c15b98138a4" providerId="ADAL" clId="{3F5618C8-8D5E-4E2B-8F0D-3AAFE622726E}" dt="2024-06-24T06:01:52.703" v="7289" actId="21"/>
          <ac:grpSpMkLst>
            <pc:docMk/>
            <pc:sldMk cId="1223332265" sldId="657"/>
            <ac:grpSpMk id="104" creationId="{7A5BFA5D-C7ED-4482-889A-48AE2F309143}"/>
          </ac:grpSpMkLst>
        </pc:grpChg>
        <pc:picChg chg="del">
          <ac:chgData name="Fatma Alsagaf" userId="ef587b5e-378a-4bb3-aa9f-3c15b98138a4" providerId="ADAL" clId="{3F5618C8-8D5E-4E2B-8F0D-3AAFE622726E}" dt="2024-06-24T06:01:52.703" v="7289" actId="21"/>
          <ac:picMkLst>
            <pc:docMk/>
            <pc:sldMk cId="1223332265" sldId="657"/>
            <ac:picMk id="7" creationId="{2E79C495-0156-4E96-A8CF-56BDA4C489D6}"/>
          </ac:picMkLst>
        </pc:picChg>
        <pc:picChg chg="del">
          <ac:chgData name="Fatma Alsagaf" userId="ef587b5e-378a-4bb3-aa9f-3c15b98138a4" providerId="ADAL" clId="{3F5618C8-8D5E-4E2B-8F0D-3AAFE622726E}" dt="2024-06-24T06:01:52.703" v="7289" actId="21"/>
          <ac:picMkLst>
            <pc:docMk/>
            <pc:sldMk cId="1223332265" sldId="657"/>
            <ac:picMk id="9" creationId="{0A42B248-4709-45F9-A326-25D1A9C646F5}"/>
          </ac:picMkLst>
        </pc:picChg>
        <pc:picChg chg="del">
          <ac:chgData name="Fatma Alsagaf" userId="ef587b5e-378a-4bb3-aa9f-3c15b98138a4" providerId="ADAL" clId="{3F5618C8-8D5E-4E2B-8F0D-3AAFE622726E}" dt="2024-06-24T06:01:52.703" v="7289" actId="21"/>
          <ac:picMkLst>
            <pc:docMk/>
            <pc:sldMk cId="1223332265" sldId="657"/>
            <ac:picMk id="11" creationId="{1501BAE9-2FE5-4B10-81E1-D38B57D0F0BD}"/>
          </ac:picMkLst>
        </pc:picChg>
        <pc:picChg chg="del">
          <ac:chgData name="Fatma Alsagaf" userId="ef587b5e-378a-4bb3-aa9f-3c15b98138a4" providerId="ADAL" clId="{3F5618C8-8D5E-4E2B-8F0D-3AAFE622726E}" dt="2024-06-24T06:01:52.703" v="7289" actId="21"/>
          <ac:picMkLst>
            <pc:docMk/>
            <pc:sldMk cId="1223332265" sldId="657"/>
            <ac:picMk id="13" creationId="{0E5B97EC-CD01-4555-B845-225D73EF7D80}"/>
          </ac:picMkLst>
        </pc:picChg>
        <pc:picChg chg="del">
          <ac:chgData name="Fatma Alsagaf" userId="ef587b5e-378a-4bb3-aa9f-3c15b98138a4" providerId="ADAL" clId="{3F5618C8-8D5E-4E2B-8F0D-3AAFE622726E}" dt="2024-06-24T06:01:52.703" v="7289" actId="21"/>
          <ac:picMkLst>
            <pc:docMk/>
            <pc:sldMk cId="1223332265" sldId="657"/>
            <ac:picMk id="15" creationId="{7E7C19E4-6924-4BD0-BF6D-B187508BB441}"/>
          </ac:picMkLst>
        </pc:picChg>
        <pc:cxnChg chg="del mod">
          <ac:chgData name="Fatma Alsagaf" userId="ef587b5e-378a-4bb3-aa9f-3c15b98138a4" providerId="ADAL" clId="{3F5618C8-8D5E-4E2B-8F0D-3AAFE622726E}" dt="2024-06-24T06:01:52.703" v="7289" actId="21"/>
          <ac:cxnSpMkLst>
            <pc:docMk/>
            <pc:sldMk cId="1223332265" sldId="657"/>
            <ac:cxnSpMk id="77" creationId="{B755B7C8-5795-43E3-8C1D-AE3B942E2AD5}"/>
          </ac:cxnSpMkLst>
        </pc:cxnChg>
        <pc:cxnChg chg="del mod">
          <ac:chgData name="Fatma Alsagaf" userId="ef587b5e-378a-4bb3-aa9f-3c15b98138a4" providerId="ADAL" clId="{3F5618C8-8D5E-4E2B-8F0D-3AAFE622726E}" dt="2024-06-24T06:01:52.703" v="7289" actId="21"/>
          <ac:cxnSpMkLst>
            <pc:docMk/>
            <pc:sldMk cId="1223332265" sldId="657"/>
            <ac:cxnSpMk id="86" creationId="{E45963DF-E143-4172-B20B-F948BC3C66E4}"/>
          </ac:cxnSpMkLst>
        </pc:cxnChg>
        <pc:cxnChg chg="del mod">
          <ac:chgData name="Fatma Alsagaf" userId="ef587b5e-378a-4bb3-aa9f-3c15b98138a4" providerId="ADAL" clId="{3F5618C8-8D5E-4E2B-8F0D-3AAFE622726E}" dt="2024-06-24T06:01:52.703" v="7289" actId="21"/>
          <ac:cxnSpMkLst>
            <pc:docMk/>
            <pc:sldMk cId="1223332265" sldId="657"/>
            <ac:cxnSpMk id="95" creationId="{0FC85A81-715F-4943-AD53-901004ABC1EC}"/>
          </ac:cxnSpMkLst>
        </pc:cxnChg>
        <pc:cxnChg chg="del mod">
          <ac:chgData name="Fatma Alsagaf" userId="ef587b5e-378a-4bb3-aa9f-3c15b98138a4" providerId="ADAL" clId="{3F5618C8-8D5E-4E2B-8F0D-3AAFE622726E}" dt="2024-06-24T06:01:52.703" v="7289" actId="21"/>
          <ac:cxnSpMkLst>
            <pc:docMk/>
            <pc:sldMk cId="1223332265" sldId="657"/>
            <ac:cxnSpMk id="101" creationId="{66F2E257-18CA-44E1-9730-A2C02B772B9F}"/>
          </ac:cxnSpMkLst>
        </pc:cxnChg>
        <pc:cxnChg chg="del mod">
          <ac:chgData name="Fatma Alsagaf" userId="ef587b5e-378a-4bb3-aa9f-3c15b98138a4" providerId="ADAL" clId="{3F5618C8-8D5E-4E2B-8F0D-3AAFE622726E}" dt="2024-06-24T06:01:52.703" v="7289" actId="21"/>
          <ac:cxnSpMkLst>
            <pc:docMk/>
            <pc:sldMk cId="1223332265" sldId="657"/>
            <ac:cxnSpMk id="105" creationId="{A903A845-84D2-4C27-8960-A739549C7706}"/>
          </ac:cxnSpMkLst>
        </pc:cxnChg>
      </pc:sldChg>
      <pc:sldChg chg="modSp add del mod">
        <pc:chgData name="Fatma Alsagaf" userId="ef587b5e-378a-4bb3-aa9f-3c15b98138a4" providerId="ADAL" clId="{3F5618C8-8D5E-4E2B-8F0D-3AAFE622726E}" dt="2024-06-21T13:23:37.332" v="6401" actId="47"/>
        <pc:sldMkLst>
          <pc:docMk/>
          <pc:sldMk cId="2536232746" sldId="8652"/>
        </pc:sldMkLst>
        <pc:grpChg chg="mod">
          <ac:chgData name="Fatma Alsagaf" userId="ef587b5e-378a-4bb3-aa9f-3c15b98138a4" providerId="ADAL" clId="{3F5618C8-8D5E-4E2B-8F0D-3AAFE622726E}" dt="2024-06-21T13:23:20.873" v="6397" actId="1076"/>
          <ac:grpSpMkLst>
            <pc:docMk/>
            <pc:sldMk cId="2536232746" sldId="8652"/>
            <ac:grpSpMk id="26" creationId="{83383DAC-B06F-4F18-8934-F20DC475B8BB}"/>
          </ac:grpSpMkLst>
        </pc:grpChg>
      </pc:sldChg>
      <pc:sldChg chg="addSp delSp modSp mod">
        <pc:chgData name="Fatma Alsagaf" userId="ef587b5e-378a-4bb3-aa9f-3c15b98138a4" providerId="ADAL" clId="{3F5618C8-8D5E-4E2B-8F0D-3AAFE622726E}" dt="2024-06-26T10:02:05.927" v="9545" actId="6549"/>
        <pc:sldMkLst>
          <pc:docMk/>
          <pc:sldMk cId="1762240914" sldId="2147472900"/>
        </pc:sldMkLst>
        <pc:spChg chg="mod">
          <ac:chgData name="Fatma Alsagaf" userId="ef587b5e-378a-4bb3-aa9f-3c15b98138a4" providerId="ADAL" clId="{3F5618C8-8D5E-4E2B-8F0D-3AAFE622726E}" dt="2024-06-26T10:02:05.927" v="9545" actId="6549"/>
          <ac:spMkLst>
            <pc:docMk/>
            <pc:sldMk cId="1762240914" sldId="2147472900"/>
            <ac:spMk id="9" creationId="{77928747-5E64-03C5-4D72-CA666210F6E4}"/>
          </ac:spMkLst>
        </pc:spChg>
        <pc:picChg chg="del">
          <ac:chgData name="Fatma Alsagaf" userId="ef587b5e-378a-4bb3-aa9f-3c15b98138a4" providerId="ADAL" clId="{3F5618C8-8D5E-4E2B-8F0D-3AAFE622726E}" dt="2024-06-19T09:37:35.232" v="3" actId="478"/>
          <ac:picMkLst>
            <pc:docMk/>
            <pc:sldMk cId="1762240914" sldId="2147472900"/>
            <ac:picMk id="6" creationId="{EBBE9C29-A7CB-806A-C527-37AA68F65B05}"/>
          </ac:picMkLst>
        </pc:picChg>
        <pc:picChg chg="add mod">
          <ac:chgData name="Fatma Alsagaf" userId="ef587b5e-378a-4bb3-aa9f-3c15b98138a4" providerId="ADAL" clId="{3F5618C8-8D5E-4E2B-8F0D-3AAFE622726E}" dt="2024-06-19T09:39:11.737" v="25" actId="1076"/>
          <ac:picMkLst>
            <pc:docMk/>
            <pc:sldMk cId="1762240914" sldId="2147472900"/>
            <ac:picMk id="7" creationId="{9B71982D-1303-F164-2BDE-B76A041FE7E6}"/>
          </ac:picMkLst>
        </pc:picChg>
      </pc:sldChg>
      <pc:sldChg chg="del">
        <pc:chgData name="Fatma Alsagaf" userId="ef587b5e-378a-4bb3-aa9f-3c15b98138a4" providerId="ADAL" clId="{3F5618C8-8D5E-4E2B-8F0D-3AAFE622726E}" dt="2024-06-19T09:38:36.730" v="21" actId="47"/>
        <pc:sldMkLst>
          <pc:docMk/>
          <pc:sldMk cId="320581614" sldId="2147472902"/>
        </pc:sldMkLst>
      </pc:sldChg>
      <pc:sldChg chg="del">
        <pc:chgData name="Fatma Alsagaf" userId="ef587b5e-378a-4bb3-aa9f-3c15b98138a4" providerId="ADAL" clId="{3F5618C8-8D5E-4E2B-8F0D-3AAFE622726E}" dt="2024-06-20T15:10:20.593" v="2518" actId="47"/>
        <pc:sldMkLst>
          <pc:docMk/>
          <pc:sldMk cId="385158209" sldId="2147472903"/>
        </pc:sldMkLst>
      </pc:sldChg>
      <pc:sldChg chg="del">
        <pc:chgData name="Fatma Alsagaf" userId="ef587b5e-378a-4bb3-aa9f-3c15b98138a4" providerId="ADAL" clId="{3F5618C8-8D5E-4E2B-8F0D-3AAFE622726E}" dt="2024-06-20T15:10:20.100" v="2517" actId="47"/>
        <pc:sldMkLst>
          <pc:docMk/>
          <pc:sldMk cId="614162511" sldId="2147472904"/>
        </pc:sldMkLst>
      </pc:sldChg>
      <pc:sldChg chg="del">
        <pc:chgData name="Fatma Alsagaf" userId="ef587b5e-378a-4bb3-aa9f-3c15b98138a4" providerId="ADAL" clId="{3F5618C8-8D5E-4E2B-8F0D-3AAFE622726E}" dt="2024-06-19T09:43:07.387" v="92" actId="47"/>
        <pc:sldMkLst>
          <pc:docMk/>
          <pc:sldMk cId="1211564085" sldId="2147472908"/>
        </pc:sldMkLst>
      </pc:sldChg>
      <pc:sldChg chg="addSp delSp modSp mod delAnim">
        <pc:chgData name="Fatma Alsagaf" userId="ef587b5e-378a-4bb3-aa9f-3c15b98138a4" providerId="ADAL" clId="{3F5618C8-8D5E-4E2B-8F0D-3AAFE622726E}" dt="2024-06-24T08:43:25.237" v="9211" actId="14100"/>
        <pc:sldMkLst>
          <pc:docMk/>
          <pc:sldMk cId="3280042198" sldId="2147472909"/>
        </pc:sldMkLst>
        <pc:spChg chg="del">
          <ac:chgData name="Fatma Alsagaf" userId="ef587b5e-378a-4bb3-aa9f-3c15b98138a4" providerId="ADAL" clId="{3F5618C8-8D5E-4E2B-8F0D-3AAFE622726E}" dt="2024-06-19T11:26:48.879" v="717" actId="478"/>
          <ac:spMkLst>
            <pc:docMk/>
            <pc:sldMk cId="3280042198" sldId="2147472909"/>
            <ac:spMk id="3" creationId="{A5E324C3-6AC5-D802-DD38-F958EDCC50AE}"/>
          </ac:spMkLst>
        </pc:spChg>
        <pc:spChg chg="add mod">
          <ac:chgData name="Fatma Alsagaf" userId="ef587b5e-378a-4bb3-aa9f-3c15b98138a4" providerId="ADAL" clId="{3F5618C8-8D5E-4E2B-8F0D-3AAFE622726E}" dt="2024-06-19T11:38:10.495" v="891" actId="14100"/>
          <ac:spMkLst>
            <pc:docMk/>
            <pc:sldMk cId="3280042198" sldId="2147472909"/>
            <ac:spMk id="4" creationId="{788E24FD-F32F-9DCA-E527-1AA3604CA56C}"/>
          </ac:spMkLst>
        </pc:spChg>
        <pc:spChg chg="mod topLvl">
          <ac:chgData name="Fatma Alsagaf" userId="ef587b5e-378a-4bb3-aa9f-3c15b98138a4" providerId="ADAL" clId="{3F5618C8-8D5E-4E2B-8F0D-3AAFE622726E}" dt="2024-06-21T13:03:10.618" v="5810" actId="14100"/>
          <ac:spMkLst>
            <pc:docMk/>
            <pc:sldMk cId="3280042198" sldId="2147472909"/>
            <ac:spMk id="7" creationId="{342BA732-E6DD-C66E-607A-8AFAD860D4E8}"/>
          </ac:spMkLst>
        </pc:spChg>
        <pc:spChg chg="mod topLvl">
          <ac:chgData name="Fatma Alsagaf" userId="ef587b5e-378a-4bb3-aa9f-3c15b98138a4" providerId="ADAL" clId="{3F5618C8-8D5E-4E2B-8F0D-3AAFE622726E}" dt="2024-06-24T08:43:08.140" v="9210" actId="6549"/>
          <ac:spMkLst>
            <pc:docMk/>
            <pc:sldMk cId="3280042198" sldId="2147472909"/>
            <ac:spMk id="8" creationId="{4275E03C-0524-91A9-8B41-AA65EAF880D0}"/>
          </ac:spMkLst>
        </pc:spChg>
        <pc:spChg chg="del">
          <ac:chgData name="Fatma Alsagaf" userId="ef587b5e-378a-4bb3-aa9f-3c15b98138a4" providerId="ADAL" clId="{3F5618C8-8D5E-4E2B-8F0D-3AAFE622726E}" dt="2024-06-19T11:26:48.879" v="717" actId="478"/>
          <ac:spMkLst>
            <pc:docMk/>
            <pc:sldMk cId="3280042198" sldId="2147472909"/>
            <ac:spMk id="9" creationId="{43DCE535-5337-4CDC-B337-11DE5AFC3B1A}"/>
          </ac:spMkLst>
        </pc:spChg>
        <pc:spChg chg="mod topLvl">
          <ac:chgData name="Fatma Alsagaf" userId="ef587b5e-378a-4bb3-aa9f-3c15b98138a4" providerId="ADAL" clId="{3F5618C8-8D5E-4E2B-8F0D-3AAFE622726E}" dt="2024-06-21T13:03:17.104" v="5812" actId="14100"/>
          <ac:spMkLst>
            <pc:docMk/>
            <pc:sldMk cId="3280042198" sldId="2147472909"/>
            <ac:spMk id="10" creationId="{A1659B12-F9AE-C6E6-8987-4FC6CA8E4FB2}"/>
          </ac:spMkLst>
        </pc:spChg>
        <pc:spChg chg="mod topLvl">
          <ac:chgData name="Fatma Alsagaf" userId="ef587b5e-378a-4bb3-aa9f-3c15b98138a4" providerId="ADAL" clId="{3F5618C8-8D5E-4E2B-8F0D-3AAFE622726E}" dt="2024-06-24T08:43:25.237" v="9211" actId="14100"/>
          <ac:spMkLst>
            <pc:docMk/>
            <pc:sldMk cId="3280042198" sldId="2147472909"/>
            <ac:spMk id="11" creationId="{9B9995EB-5208-1824-E033-C68C82F55921}"/>
          </ac:spMkLst>
        </pc:spChg>
        <pc:spChg chg="del">
          <ac:chgData name="Fatma Alsagaf" userId="ef587b5e-378a-4bb3-aa9f-3c15b98138a4" providerId="ADAL" clId="{3F5618C8-8D5E-4E2B-8F0D-3AAFE622726E}" dt="2024-06-19T11:26:48.879" v="717" actId="478"/>
          <ac:spMkLst>
            <pc:docMk/>
            <pc:sldMk cId="3280042198" sldId="2147472909"/>
            <ac:spMk id="12" creationId="{D8CD2B8D-92BC-43E3-8F7E-996142B92484}"/>
          </ac:spMkLst>
        </pc:spChg>
        <pc:spChg chg="add mod">
          <ac:chgData name="Fatma Alsagaf" userId="ef587b5e-378a-4bb3-aa9f-3c15b98138a4" providerId="ADAL" clId="{3F5618C8-8D5E-4E2B-8F0D-3AAFE622726E}" dt="2024-06-21T13:03:21.166" v="5814" actId="14100"/>
          <ac:spMkLst>
            <pc:docMk/>
            <pc:sldMk cId="3280042198" sldId="2147472909"/>
            <ac:spMk id="13" creationId="{C338BC6A-956D-A847-F534-54E8D0E504DA}"/>
          </ac:spMkLst>
        </pc:spChg>
        <pc:spChg chg="add mod">
          <ac:chgData name="Fatma Alsagaf" userId="ef587b5e-378a-4bb3-aa9f-3c15b98138a4" providerId="ADAL" clId="{3F5618C8-8D5E-4E2B-8F0D-3AAFE622726E}" dt="2024-06-24T08:16:29.936" v="8957" actId="6549"/>
          <ac:spMkLst>
            <pc:docMk/>
            <pc:sldMk cId="3280042198" sldId="2147472909"/>
            <ac:spMk id="14" creationId="{1093F780-1AA6-E9EF-E821-0FA18E6C4A10}"/>
          </ac:spMkLst>
        </pc:spChg>
        <pc:spChg chg="del">
          <ac:chgData name="Fatma Alsagaf" userId="ef587b5e-378a-4bb3-aa9f-3c15b98138a4" providerId="ADAL" clId="{3F5618C8-8D5E-4E2B-8F0D-3AAFE622726E}" dt="2024-06-19T11:26:48.879" v="717" actId="478"/>
          <ac:spMkLst>
            <pc:docMk/>
            <pc:sldMk cId="3280042198" sldId="2147472909"/>
            <ac:spMk id="46" creationId="{00000000-0000-0000-0000-000000000000}"/>
          </ac:spMkLst>
        </pc:spChg>
        <pc:grpChg chg="del mod">
          <ac:chgData name="Fatma Alsagaf" userId="ef587b5e-378a-4bb3-aa9f-3c15b98138a4" providerId="ADAL" clId="{3F5618C8-8D5E-4E2B-8F0D-3AAFE622726E}" dt="2024-06-19T11:43:28.284" v="995" actId="165"/>
          <ac:grpSpMkLst>
            <pc:docMk/>
            <pc:sldMk cId="3280042198" sldId="2147472909"/>
            <ac:grpSpMk id="6" creationId="{D04C694F-805E-FBB0-FC9A-E01E27827ECA}"/>
          </ac:grpSpMkLst>
        </pc:grpChg>
        <pc:graphicFrameChg chg="add del mod modGraphic">
          <ac:chgData name="Fatma Alsagaf" userId="ef587b5e-378a-4bb3-aa9f-3c15b98138a4" providerId="ADAL" clId="{3F5618C8-8D5E-4E2B-8F0D-3AAFE622726E}" dt="2024-06-19T11:42:06.107" v="975" actId="18245"/>
          <ac:graphicFrameMkLst>
            <pc:docMk/>
            <pc:sldMk cId="3280042198" sldId="2147472909"/>
            <ac:graphicFrameMk id="5" creationId="{FE61BB54-D1D7-2058-39CA-18ED1718B4D3}"/>
          </ac:graphicFrameMkLst>
        </pc:graphicFrameChg>
        <pc:picChg chg="add del">
          <ac:chgData name="Fatma Alsagaf" userId="ef587b5e-378a-4bb3-aa9f-3c15b98138a4" providerId="ADAL" clId="{3F5618C8-8D5E-4E2B-8F0D-3AAFE622726E}" dt="2024-06-19T11:26:48.879" v="717" actId="478"/>
          <ac:picMkLst>
            <pc:docMk/>
            <pc:sldMk cId="3280042198" sldId="2147472909"/>
            <ac:picMk id="2" creationId="{E77DF28A-4D7B-CA70-1FC2-3C0B1D9AFC3C}"/>
          </ac:picMkLst>
        </pc:picChg>
      </pc:sldChg>
      <pc:sldChg chg="del">
        <pc:chgData name="Fatma Alsagaf" userId="ef587b5e-378a-4bb3-aa9f-3c15b98138a4" providerId="ADAL" clId="{3F5618C8-8D5E-4E2B-8F0D-3AAFE622726E}" dt="2024-06-20T15:10:19.438" v="2516" actId="47"/>
        <pc:sldMkLst>
          <pc:docMk/>
          <pc:sldMk cId="3259798069" sldId="2147472954"/>
        </pc:sldMkLst>
      </pc:sldChg>
      <pc:sldChg chg="del">
        <pc:chgData name="Fatma Alsagaf" userId="ef587b5e-378a-4bb3-aa9f-3c15b98138a4" providerId="ADAL" clId="{3F5618C8-8D5E-4E2B-8F0D-3AAFE622726E}" dt="2024-06-20T15:10:17.788" v="2515" actId="47"/>
        <pc:sldMkLst>
          <pc:docMk/>
          <pc:sldMk cId="3825562727" sldId="2147472960"/>
        </pc:sldMkLst>
      </pc:sldChg>
      <pc:sldChg chg="del">
        <pc:chgData name="Fatma Alsagaf" userId="ef587b5e-378a-4bb3-aa9f-3c15b98138a4" providerId="ADAL" clId="{3F5618C8-8D5E-4E2B-8F0D-3AAFE622726E}" dt="2024-06-20T17:47:05.292" v="3100" actId="47"/>
        <pc:sldMkLst>
          <pc:docMk/>
          <pc:sldMk cId="3130984712" sldId="2147473021"/>
        </pc:sldMkLst>
      </pc:sldChg>
      <pc:sldChg chg="del">
        <pc:chgData name="Fatma Alsagaf" userId="ef587b5e-378a-4bb3-aa9f-3c15b98138a4" providerId="ADAL" clId="{3F5618C8-8D5E-4E2B-8F0D-3AAFE622726E}" dt="2024-06-20T15:10:15.977" v="2514" actId="47"/>
        <pc:sldMkLst>
          <pc:docMk/>
          <pc:sldMk cId="1752006286" sldId="2147473035"/>
        </pc:sldMkLst>
      </pc:sldChg>
      <pc:sldChg chg="modSp mod">
        <pc:chgData name="Fatma Alsagaf" userId="ef587b5e-378a-4bb3-aa9f-3c15b98138a4" providerId="ADAL" clId="{3F5618C8-8D5E-4E2B-8F0D-3AAFE622726E}" dt="2024-06-20T15:10:35.287" v="2530" actId="1076"/>
        <pc:sldMkLst>
          <pc:docMk/>
          <pc:sldMk cId="1797502500" sldId="2147473089"/>
        </pc:sldMkLst>
        <pc:spChg chg="mod">
          <ac:chgData name="Fatma Alsagaf" userId="ef587b5e-378a-4bb3-aa9f-3c15b98138a4" providerId="ADAL" clId="{3F5618C8-8D5E-4E2B-8F0D-3AAFE622726E}" dt="2024-06-20T15:10:35.287" v="2530" actId="1076"/>
          <ac:spMkLst>
            <pc:docMk/>
            <pc:sldMk cId="1797502500" sldId="2147473089"/>
            <ac:spMk id="5" creationId="{BA99E717-73C5-14BC-B69A-8573F6DB2BC9}"/>
          </ac:spMkLst>
        </pc:spChg>
      </pc:sldChg>
      <pc:sldChg chg="addSp delSp modSp add del mod delAnim">
        <pc:chgData name="Fatma Alsagaf" userId="ef587b5e-378a-4bb3-aa9f-3c15b98138a4" providerId="ADAL" clId="{3F5618C8-8D5E-4E2B-8F0D-3AAFE622726E}" dt="2024-06-21T12:51:22.537" v="5519" actId="47"/>
        <pc:sldMkLst>
          <pc:docMk/>
          <pc:sldMk cId="3016530073" sldId="2147473090"/>
        </pc:sldMkLst>
        <pc:spChg chg="del">
          <ac:chgData name="Fatma Alsagaf" userId="ef587b5e-378a-4bb3-aa9f-3c15b98138a4" providerId="ADAL" clId="{3F5618C8-8D5E-4E2B-8F0D-3AAFE622726E}" dt="2024-06-19T09:40:36.648" v="45" actId="478"/>
          <ac:spMkLst>
            <pc:docMk/>
            <pc:sldMk cId="3016530073" sldId="2147473090"/>
            <ac:spMk id="3" creationId="{A5E324C3-6AC5-D802-DD38-F958EDCC50AE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5" creationId="{0541ADE0-A1D1-013F-7F60-A5C71923A1BF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6" creationId="{FE2170C8-6ECF-672F-D4A1-0341FF184465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7" creationId="{B9F3BABF-9D2D-DBE8-AE28-05C3F528E809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8" creationId="{817962B7-B7B8-DD6F-7FA1-14CB646A13CE}"/>
          </ac:spMkLst>
        </pc:spChg>
        <pc:spChg chg="del">
          <ac:chgData name="Fatma Alsagaf" userId="ef587b5e-378a-4bb3-aa9f-3c15b98138a4" providerId="ADAL" clId="{3F5618C8-8D5E-4E2B-8F0D-3AAFE622726E}" dt="2024-06-19T09:40:36.648" v="45" actId="478"/>
          <ac:spMkLst>
            <pc:docMk/>
            <pc:sldMk cId="3016530073" sldId="2147473090"/>
            <ac:spMk id="9" creationId="{43DCE535-5337-4CDC-B337-11DE5AFC3B1A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0" creationId="{6425DEFF-0DFE-C331-AD60-4CC403DC94ED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1" creationId="{A71776D8-7EC1-012F-1B07-2E83B30494E7}"/>
          </ac:spMkLst>
        </pc:spChg>
        <pc:spChg chg="del">
          <ac:chgData name="Fatma Alsagaf" userId="ef587b5e-378a-4bb3-aa9f-3c15b98138a4" providerId="ADAL" clId="{3F5618C8-8D5E-4E2B-8F0D-3AAFE622726E}" dt="2024-06-19T09:40:36.648" v="45" actId="478"/>
          <ac:spMkLst>
            <pc:docMk/>
            <pc:sldMk cId="3016530073" sldId="2147473090"/>
            <ac:spMk id="12" creationId="{D8CD2B8D-92BC-43E3-8F7E-996142B92484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3" creationId="{674142A9-DB69-8F34-1A13-877BDA0FAC4E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4" creationId="{D9CF4F97-83C7-2F57-4199-01A5F57E0EE2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5" creationId="{14D24BA7-E73D-4D75-3148-8B559D96A6F7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6" creationId="{001CCFCD-3BB1-9B9F-5E22-0A993B1135CE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7" creationId="{34809E2B-398D-ADE9-71A4-78EEBC1EEB17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8" creationId="{E3AD3741-3972-DFC0-643B-343969CA2D05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19" creationId="{BFF725EF-CDF2-FF49-DB40-BA10EA2674A5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20" creationId="{2B8724B7-6B7F-4B8B-B5BE-6BDC1AA37954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21" creationId="{E3FFBF0F-2341-6114-90D8-A0DD19CE1738}"/>
          </ac:spMkLst>
        </pc:spChg>
        <pc:spChg chg="add del mod">
          <ac:chgData name="Fatma Alsagaf" userId="ef587b5e-378a-4bb3-aa9f-3c15b98138a4" providerId="ADAL" clId="{3F5618C8-8D5E-4E2B-8F0D-3AAFE622726E}" dt="2024-06-19T09:40:49.478" v="52"/>
          <ac:spMkLst>
            <pc:docMk/>
            <pc:sldMk cId="3016530073" sldId="2147473090"/>
            <ac:spMk id="22" creationId="{6D651908-E92D-B357-E367-C3F0E07DA4AE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24" creationId="{8A50A2FC-1647-79DA-7E15-7E7025C8E8F5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25" creationId="{11D3AE07-B7FF-8603-C632-FE49F932B559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26" creationId="{D738C122-5449-E18C-E0C3-9E94E2791E9F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27" creationId="{4DADC1B1-3F6D-2750-6FE6-51BAA6DD0219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28" creationId="{62B809D1-FF5A-62AA-9367-ED87E3EA0A44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29" creationId="{42BEE793-5AED-85BB-9CB4-46BBE206FE38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0" creationId="{477E19C0-3D28-94CB-539A-373BB7508E9D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1" creationId="{9183CD1A-027A-7A05-CB77-5A0418332855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2" creationId="{BBD8F6F2-79C7-B9EB-68EE-43672AF780E5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3" creationId="{BC420468-D893-8E0D-D268-AC9FE5FF6171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4" creationId="{6ECCC4D5-ECD9-E71C-08E9-98B9FC3B368D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5" creationId="{C6F84697-56DE-FF7C-8321-FCD437807A25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6" creationId="{F16915AA-AB4C-F738-E2D4-1C7F27BB679D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7" creationId="{253B0A5C-3430-F027-CBE0-AD2DD39ADA18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8" creationId="{C457A15B-CCB1-4D82-A475-3817CE33E92A}"/>
          </ac:spMkLst>
        </pc:spChg>
        <pc:spChg chg="add del mod">
          <ac:chgData name="Fatma Alsagaf" userId="ef587b5e-378a-4bb3-aa9f-3c15b98138a4" providerId="ADAL" clId="{3F5618C8-8D5E-4E2B-8F0D-3AAFE622726E}" dt="2024-06-19T09:40:51.823" v="54"/>
          <ac:spMkLst>
            <pc:docMk/>
            <pc:sldMk cId="3016530073" sldId="2147473090"/>
            <ac:spMk id="39" creationId="{C42CB325-4D57-EC1D-E501-D2C6FCE332A3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1" creationId="{7B6DA840-E45B-FA1F-7804-64848C2D5D51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2" creationId="{0D3BB43B-EA56-75C4-B1BE-F372495CBC97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3" creationId="{11FD0E9A-8825-04C9-D87E-2BBBC2B92A34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4" creationId="{602E73AC-F2CA-B651-2851-7594470BBD00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5" creationId="{1A207483-E29E-07DB-5528-74CBD6F628D4}"/>
          </ac:spMkLst>
        </pc:spChg>
        <pc:spChg chg="del">
          <ac:chgData name="Fatma Alsagaf" userId="ef587b5e-378a-4bb3-aa9f-3c15b98138a4" providerId="ADAL" clId="{3F5618C8-8D5E-4E2B-8F0D-3AAFE622726E}" dt="2024-06-19T09:40:36.648" v="45" actId="478"/>
          <ac:spMkLst>
            <pc:docMk/>
            <pc:sldMk cId="3016530073" sldId="2147473090"/>
            <ac:spMk id="46" creationId="{00000000-0000-0000-0000-000000000000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7" creationId="{3E21E601-C18A-B9DE-0A4A-A16D0679EC03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8" creationId="{A3E2832C-B46F-3659-0BF5-0C2F8D6A678E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49" creationId="{45640170-3217-E158-7957-588E86C31AA4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0" creationId="{262C0BAC-5AF1-3A00-C0E9-88F0FD857651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1" creationId="{2F4DD7CB-4552-5DCB-CFC0-69732F02A4F6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2" creationId="{A8ECC62E-23D7-002D-F121-BCCD366CA751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3" creationId="{7CF20CDC-E8C6-173A-561C-C1484DB0951D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4" creationId="{57CF2418-70BB-4AC0-32AC-731EA66CB79E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5" creationId="{B47F1027-2172-CD09-5BE0-393F0F9D49E8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6" creationId="{4DCABA44-1157-A059-06C1-1DB7714DC9C5}"/>
          </ac:spMkLst>
        </pc:spChg>
        <pc:spChg chg="add del mod">
          <ac:chgData name="Fatma Alsagaf" userId="ef587b5e-378a-4bb3-aa9f-3c15b98138a4" providerId="ADAL" clId="{3F5618C8-8D5E-4E2B-8F0D-3AAFE622726E}" dt="2024-06-19T09:41:07.549" v="63"/>
          <ac:spMkLst>
            <pc:docMk/>
            <pc:sldMk cId="3016530073" sldId="2147473090"/>
            <ac:spMk id="57" creationId="{FBEBAB5F-3390-E252-F7F0-F749037B2791}"/>
          </ac:spMkLst>
        </pc:spChg>
        <pc:spChg chg="add mod">
          <ac:chgData name="Fatma Alsagaf" userId="ef587b5e-378a-4bb3-aa9f-3c15b98138a4" providerId="ADAL" clId="{3F5618C8-8D5E-4E2B-8F0D-3AAFE622726E}" dt="2024-06-19T11:15:20.720" v="139" actId="14100"/>
          <ac:spMkLst>
            <pc:docMk/>
            <pc:sldMk cId="3016530073" sldId="2147473090"/>
            <ac:spMk id="59" creationId="{1FF9014C-C5F4-2B53-4B2A-2E8F4EBCD291}"/>
          </ac:spMkLst>
        </pc:spChg>
        <pc:spChg chg="add mod">
          <ac:chgData name="Fatma Alsagaf" userId="ef587b5e-378a-4bb3-aa9f-3c15b98138a4" providerId="ADAL" clId="{3F5618C8-8D5E-4E2B-8F0D-3AAFE622726E}" dt="2024-06-19T11:12:14.013" v="121" actId="1076"/>
          <ac:spMkLst>
            <pc:docMk/>
            <pc:sldMk cId="3016530073" sldId="2147473090"/>
            <ac:spMk id="60" creationId="{49CE88D8-28E8-4D06-08FD-B7CBBFC64412}"/>
          </ac:spMkLst>
        </pc:spChg>
        <pc:spChg chg="add del mod">
          <ac:chgData name="Fatma Alsagaf" userId="ef587b5e-378a-4bb3-aa9f-3c15b98138a4" providerId="ADAL" clId="{3F5618C8-8D5E-4E2B-8F0D-3AAFE622726E}" dt="2024-06-19T11:11:51.308" v="117" actId="478"/>
          <ac:spMkLst>
            <pc:docMk/>
            <pc:sldMk cId="3016530073" sldId="2147473090"/>
            <ac:spMk id="61" creationId="{0DFB5F80-626C-FC8E-6031-7C7E3AED8276}"/>
          </ac:spMkLst>
        </pc:spChg>
        <pc:spChg chg="add mod">
          <ac:chgData name="Fatma Alsagaf" userId="ef587b5e-378a-4bb3-aa9f-3c15b98138a4" providerId="ADAL" clId="{3F5618C8-8D5E-4E2B-8F0D-3AAFE622726E}" dt="2024-06-19T11:13:02.443" v="134" actId="1076"/>
          <ac:spMkLst>
            <pc:docMk/>
            <pc:sldMk cId="3016530073" sldId="2147473090"/>
            <ac:spMk id="62" creationId="{F7643FBB-DFEE-F2FC-B2F1-A730331B750E}"/>
          </ac:spMkLst>
        </pc:spChg>
        <pc:spChg chg="add mod">
          <ac:chgData name="Fatma Alsagaf" userId="ef587b5e-378a-4bb3-aa9f-3c15b98138a4" providerId="ADAL" clId="{3F5618C8-8D5E-4E2B-8F0D-3AAFE622726E}" dt="2024-06-19T09:42:36.888" v="90" actId="207"/>
          <ac:spMkLst>
            <pc:docMk/>
            <pc:sldMk cId="3016530073" sldId="2147473090"/>
            <ac:spMk id="63" creationId="{E7CB91DE-7F79-5B93-ED0D-F483F6E67B29}"/>
          </ac:spMkLst>
        </pc:spChg>
        <pc:spChg chg="add del mod">
          <ac:chgData name="Fatma Alsagaf" userId="ef587b5e-378a-4bb3-aa9f-3c15b98138a4" providerId="ADAL" clId="{3F5618C8-8D5E-4E2B-8F0D-3AAFE622726E}" dt="2024-06-21T12:00:13.237" v="5038" actId="478"/>
          <ac:spMkLst>
            <pc:docMk/>
            <pc:sldMk cId="3016530073" sldId="2147473090"/>
            <ac:spMk id="64" creationId="{00082C98-1AA6-E0C4-054E-6F281893C4F1}"/>
          </ac:spMkLst>
        </pc:spChg>
        <pc:spChg chg="add del mod">
          <ac:chgData name="Fatma Alsagaf" userId="ef587b5e-378a-4bb3-aa9f-3c15b98138a4" providerId="ADAL" clId="{3F5618C8-8D5E-4E2B-8F0D-3AAFE622726E}" dt="2024-06-21T12:00:15.313" v="5039" actId="478"/>
          <ac:spMkLst>
            <pc:docMk/>
            <pc:sldMk cId="3016530073" sldId="2147473090"/>
            <ac:spMk id="65" creationId="{AC266C16-8017-FDD7-760F-7F000167948C}"/>
          </ac:spMkLst>
        </pc:spChg>
        <pc:spChg chg="add mod">
          <ac:chgData name="Fatma Alsagaf" userId="ef587b5e-378a-4bb3-aa9f-3c15b98138a4" providerId="ADAL" clId="{3F5618C8-8D5E-4E2B-8F0D-3AAFE622726E}" dt="2024-06-19T09:42:36.888" v="90" actId="207"/>
          <ac:spMkLst>
            <pc:docMk/>
            <pc:sldMk cId="3016530073" sldId="2147473090"/>
            <ac:spMk id="66" creationId="{5B2BF1C2-7986-D408-3C11-A8229DC257AE}"/>
          </ac:spMkLst>
        </pc:spChg>
        <pc:spChg chg="add mod">
          <ac:chgData name="Fatma Alsagaf" userId="ef587b5e-378a-4bb3-aa9f-3c15b98138a4" providerId="ADAL" clId="{3F5618C8-8D5E-4E2B-8F0D-3AAFE622726E}" dt="2024-06-19T09:42:36.888" v="90" actId="207"/>
          <ac:spMkLst>
            <pc:docMk/>
            <pc:sldMk cId="3016530073" sldId="2147473090"/>
            <ac:spMk id="67" creationId="{C87F17D5-A14B-95EA-C50E-0F324A55C277}"/>
          </ac:spMkLst>
        </pc:spChg>
        <pc:spChg chg="add mod">
          <ac:chgData name="Fatma Alsagaf" userId="ef587b5e-378a-4bb3-aa9f-3c15b98138a4" providerId="ADAL" clId="{3F5618C8-8D5E-4E2B-8F0D-3AAFE622726E}" dt="2024-06-19T09:42:32.079" v="89" actId="207"/>
          <ac:spMkLst>
            <pc:docMk/>
            <pc:sldMk cId="3016530073" sldId="2147473090"/>
            <ac:spMk id="68" creationId="{71A1433D-6438-C58F-60C0-B3E644B0EBAF}"/>
          </ac:spMkLst>
        </pc:spChg>
        <pc:spChg chg="add del mod">
          <ac:chgData name="Fatma Alsagaf" userId="ef587b5e-378a-4bb3-aa9f-3c15b98138a4" providerId="ADAL" clId="{3F5618C8-8D5E-4E2B-8F0D-3AAFE622726E}" dt="2024-06-19T11:11:49.970" v="116" actId="478"/>
          <ac:spMkLst>
            <pc:docMk/>
            <pc:sldMk cId="3016530073" sldId="2147473090"/>
            <ac:spMk id="69" creationId="{961B678F-0F37-2C1B-C631-70DF767C310A}"/>
          </ac:spMkLst>
        </pc:spChg>
        <pc:spChg chg="add mod">
          <ac:chgData name="Fatma Alsagaf" userId="ef587b5e-378a-4bb3-aa9f-3c15b98138a4" providerId="ADAL" clId="{3F5618C8-8D5E-4E2B-8F0D-3AAFE622726E}" dt="2024-06-19T11:13:04.420" v="135" actId="1076"/>
          <ac:spMkLst>
            <pc:docMk/>
            <pc:sldMk cId="3016530073" sldId="2147473090"/>
            <ac:spMk id="70" creationId="{1F41BA61-9616-46B4-B764-7FAAC5A0DB12}"/>
          </ac:spMkLst>
        </pc:spChg>
        <pc:spChg chg="add del mod">
          <ac:chgData name="Fatma Alsagaf" userId="ef587b5e-378a-4bb3-aa9f-3c15b98138a4" providerId="ADAL" clId="{3F5618C8-8D5E-4E2B-8F0D-3AAFE622726E}" dt="2024-06-19T11:11:47.280" v="114" actId="478"/>
          <ac:spMkLst>
            <pc:docMk/>
            <pc:sldMk cId="3016530073" sldId="2147473090"/>
            <ac:spMk id="71" creationId="{C6F63079-831A-8661-89A1-B57234B168AC}"/>
          </ac:spMkLst>
        </pc:spChg>
        <pc:spChg chg="add mod">
          <ac:chgData name="Fatma Alsagaf" userId="ef587b5e-378a-4bb3-aa9f-3c15b98138a4" providerId="ADAL" clId="{3F5618C8-8D5E-4E2B-8F0D-3AAFE622726E}" dt="2024-06-19T11:13:16.467" v="138" actId="1076"/>
          <ac:spMkLst>
            <pc:docMk/>
            <pc:sldMk cId="3016530073" sldId="2147473090"/>
            <ac:spMk id="72" creationId="{162E16E3-DE18-1316-9C2D-29CCB1B11426}"/>
          </ac:spMkLst>
        </pc:spChg>
        <pc:spChg chg="add del mod">
          <ac:chgData name="Fatma Alsagaf" userId="ef587b5e-378a-4bb3-aa9f-3c15b98138a4" providerId="ADAL" clId="{3F5618C8-8D5E-4E2B-8F0D-3AAFE622726E}" dt="2024-06-19T11:11:48.649" v="115" actId="478"/>
          <ac:spMkLst>
            <pc:docMk/>
            <pc:sldMk cId="3016530073" sldId="2147473090"/>
            <ac:spMk id="73" creationId="{7BC6D239-E1E6-D3B2-E296-95DAF9D7E3BA}"/>
          </ac:spMkLst>
        </pc:spChg>
        <pc:spChg chg="add mod">
          <ac:chgData name="Fatma Alsagaf" userId="ef587b5e-378a-4bb3-aa9f-3c15b98138a4" providerId="ADAL" clId="{3F5618C8-8D5E-4E2B-8F0D-3AAFE622726E}" dt="2024-06-19T11:13:09.997" v="137" actId="108"/>
          <ac:spMkLst>
            <pc:docMk/>
            <pc:sldMk cId="3016530073" sldId="2147473090"/>
            <ac:spMk id="74" creationId="{C311824D-FBAC-D4BA-EDF2-207C59867859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76" creationId="{6EF478CE-4CB8-7252-A449-E9816883220D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77" creationId="{8A11D673-9A77-7D88-3531-060560575C3D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78" creationId="{BBBD1686-9002-5EE7-51DF-B1002984F121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79" creationId="{EF147BF9-FCC3-4ACF-52E2-D67B6BF4BD76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0" creationId="{ED489212-3BBC-FF7A-6E12-BAA6B91B1577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1" creationId="{62D097F8-731F-CE03-B533-5F7671D16FB4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2" creationId="{4A1301F4-9FAD-5DCD-D5B7-6E85B663962E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3" creationId="{FCE99BE3-21A3-AE60-3265-60DF482AF204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4" creationId="{23FC7EE2-4DBF-6C34-E446-2D94C48BE1AC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5" creationId="{62F84C3D-EAE2-3652-1F2F-9B84BB87B681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6" creationId="{98DF4F76-05B6-E9F6-A7BA-F122AFC3D4B0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7" creationId="{2C06D128-96C9-7814-B751-7F69B5377F5C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8" creationId="{7C01FE13-80EE-0294-4DAB-00ED289F14DB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89" creationId="{BFCEBD17-B5D0-8036-2AC3-F301423B3014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90" creationId="{2C1FE2B8-19C6-B2CE-1558-6697B974AE73}"/>
          </ac:spMkLst>
        </pc:spChg>
        <pc:spChg chg="add del mod">
          <ac:chgData name="Fatma Alsagaf" userId="ef587b5e-378a-4bb3-aa9f-3c15b98138a4" providerId="ADAL" clId="{3F5618C8-8D5E-4E2B-8F0D-3AAFE622726E}" dt="2024-06-19T09:41:13.136" v="69"/>
          <ac:spMkLst>
            <pc:docMk/>
            <pc:sldMk cId="3016530073" sldId="2147473090"/>
            <ac:spMk id="91" creationId="{A5CD7F0E-2A70-C031-861F-65EBD1892BDF}"/>
          </ac:spMkLst>
        </pc:spChg>
        <pc:picChg chg="del">
          <ac:chgData name="Fatma Alsagaf" userId="ef587b5e-378a-4bb3-aa9f-3c15b98138a4" providerId="ADAL" clId="{3F5618C8-8D5E-4E2B-8F0D-3AAFE622726E}" dt="2024-06-19T09:40:34.083" v="44" actId="478"/>
          <ac:picMkLst>
            <pc:docMk/>
            <pc:sldMk cId="3016530073" sldId="2147473090"/>
            <ac:picMk id="2" creationId="{E77DF28A-4D7B-CA70-1FC2-3C0B1D9AFC3C}"/>
          </ac:picMkLst>
        </pc:picChg>
        <pc:picChg chg="add del mod">
          <ac:chgData name="Fatma Alsagaf" userId="ef587b5e-378a-4bb3-aa9f-3c15b98138a4" providerId="ADAL" clId="{3F5618C8-8D5E-4E2B-8F0D-3AAFE622726E}" dt="2024-06-19T09:40:49.478" v="52"/>
          <ac:picMkLst>
            <pc:docMk/>
            <pc:sldMk cId="3016530073" sldId="2147473090"/>
            <ac:picMk id="4" creationId="{16439161-BD47-86BB-254F-8EE480D5B8ED}"/>
          </ac:picMkLst>
        </pc:picChg>
        <pc:picChg chg="add del mod">
          <ac:chgData name="Fatma Alsagaf" userId="ef587b5e-378a-4bb3-aa9f-3c15b98138a4" providerId="ADAL" clId="{3F5618C8-8D5E-4E2B-8F0D-3AAFE622726E}" dt="2024-06-19T09:40:51.823" v="54"/>
          <ac:picMkLst>
            <pc:docMk/>
            <pc:sldMk cId="3016530073" sldId="2147473090"/>
            <ac:picMk id="23" creationId="{F608DCB9-2FC4-F5D5-2E45-AD47CC5E3D95}"/>
          </ac:picMkLst>
        </pc:picChg>
        <pc:picChg chg="add del mod">
          <ac:chgData name="Fatma Alsagaf" userId="ef587b5e-378a-4bb3-aa9f-3c15b98138a4" providerId="ADAL" clId="{3F5618C8-8D5E-4E2B-8F0D-3AAFE622726E}" dt="2024-06-19T09:41:07.549" v="63"/>
          <ac:picMkLst>
            <pc:docMk/>
            <pc:sldMk cId="3016530073" sldId="2147473090"/>
            <ac:picMk id="40" creationId="{EED7C835-21F8-1874-47C8-9FF3CABC0199}"/>
          </ac:picMkLst>
        </pc:picChg>
        <pc:picChg chg="add del mod">
          <ac:chgData name="Fatma Alsagaf" userId="ef587b5e-378a-4bb3-aa9f-3c15b98138a4" providerId="ADAL" clId="{3F5618C8-8D5E-4E2B-8F0D-3AAFE622726E}" dt="2024-06-19T09:41:29.695" v="78" actId="478"/>
          <ac:picMkLst>
            <pc:docMk/>
            <pc:sldMk cId="3016530073" sldId="2147473090"/>
            <ac:picMk id="58" creationId="{3BF9A9F3-8D7A-9D8F-6575-B5FE25B98CE7}"/>
          </ac:picMkLst>
        </pc:picChg>
        <pc:picChg chg="add del mod">
          <ac:chgData name="Fatma Alsagaf" userId="ef587b5e-378a-4bb3-aa9f-3c15b98138a4" providerId="ADAL" clId="{3F5618C8-8D5E-4E2B-8F0D-3AAFE622726E}" dt="2024-06-19T09:41:13.136" v="69"/>
          <ac:picMkLst>
            <pc:docMk/>
            <pc:sldMk cId="3016530073" sldId="2147473090"/>
            <ac:picMk id="75" creationId="{D066A32A-F294-E788-A6EE-D76CE5DBADE9}"/>
          </ac:picMkLst>
        </pc:picChg>
        <pc:picChg chg="add mod ord">
          <ac:chgData name="Fatma Alsagaf" userId="ef587b5e-378a-4bb3-aa9f-3c15b98138a4" providerId="ADAL" clId="{3F5618C8-8D5E-4E2B-8F0D-3AAFE622726E}" dt="2024-06-19T11:15:23.064" v="140" actId="14100"/>
          <ac:picMkLst>
            <pc:docMk/>
            <pc:sldMk cId="3016530073" sldId="2147473090"/>
            <ac:picMk id="92" creationId="{732A58CD-3574-3827-581C-38FEDFE5043B}"/>
          </ac:picMkLst>
        </pc:picChg>
      </pc:sldChg>
      <pc:sldChg chg="add del">
        <pc:chgData name="Fatma Alsagaf" userId="ef587b5e-378a-4bb3-aa9f-3c15b98138a4" providerId="ADAL" clId="{3F5618C8-8D5E-4E2B-8F0D-3AAFE622726E}" dt="2024-06-19T09:40:39.805" v="47"/>
        <pc:sldMkLst>
          <pc:docMk/>
          <pc:sldMk cId="865383627" sldId="2147473091"/>
        </pc:sldMkLst>
      </pc:sldChg>
      <pc:sldChg chg="addSp delSp modSp new add del mod">
        <pc:chgData name="Fatma Alsagaf" userId="ef587b5e-378a-4bb3-aa9f-3c15b98138a4" providerId="ADAL" clId="{3F5618C8-8D5E-4E2B-8F0D-3AAFE622726E}" dt="2024-06-19T09:42:15.767" v="87" actId="47"/>
        <pc:sldMkLst>
          <pc:docMk/>
          <pc:sldMk cId="1033735204" sldId="2147473091"/>
        </pc:sldMkLst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4" creationId="{F7545ADB-9998-9115-CF03-B43C63711BA9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5" creationId="{5D2C2994-2B17-E1BC-D632-BEE553E3D19C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6" creationId="{94AD31DE-4319-0BD5-C5A3-7FBDA325BF31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7" creationId="{9BDBC7C7-9E06-CAA5-188C-C30FE8AAFB45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8" creationId="{4FE00569-9D26-694D-1ACE-D9229A322BDC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9" creationId="{DAD007CA-5A6E-FEAC-9BAA-1D5AA759CF69}"/>
          </ac:spMkLst>
        </pc:spChg>
        <pc:spChg chg="add del mod">
          <ac:chgData name="Fatma Alsagaf" userId="ef587b5e-378a-4bb3-aa9f-3c15b98138a4" providerId="ADAL" clId="{3F5618C8-8D5E-4E2B-8F0D-3AAFE622726E}" dt="2024-06-19T09:41:43.187" v="81" actId="21"/>
          <ac:spMkLst>
            <pc:docMk/>
            <pc:sldMk cId="1033735204" sldId="2147473091"/>
            <ac:spMk id="10" creationId="{D85B5E72-3801-4D5A-D66A-8EE3EF78E289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1" creationId="{E855BF7A-3AC2-97C5-04AB-071D91608FE5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2" creationId="{CDB53AE2-88DE-60BC-81B6-676B5741B69F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3" creationId="{308C8218-87BA-EC2E-BC30-CB86A6DF284D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4" creationId="{1CCDA0B4-A506-5267-AF22-D69A2F0CFEC7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5" creationId="{6A2D6C04-7DD9-C4C2-C1E1-000E0CE2D92C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6" creationId="{10B76ADC-8B56-F879-E543-04054CC624FF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7" creationId="{E03259AA-AF08-1F8B-93FB-FBDD5127900F}"/>
          </ac:spMkLst>
        </pc:spChg>
        <pc:spChg chg="add mod">
          <ac:chgData name="Fatma Alsagaf" userId="ef587b5e-378a-4bb3-aa9f-3c15b98138a4" providerId="ADAL" clId="{3F5618C8-8D5E-4E2B-8F0D-3AAFE622726E}" dt="2024-06-19T09:41:16.446" v="72" actId="27636"/>
          <ac:spMkLst>
            <pc:docMk/>
            <pc:sldMk cId="1033735204" sldId="2147473091"/>
            <ac:spMk id="18" creationId="{14B8B5D4-85B8-37AE-BDD0-43BE3811FA07}"/>
          </ac:spMkLst>
        </pc:spChg>
        <pc:spChg chg="add mod">
          <ac:chgData name="Fatma Alsagaf" userId="ef587b5e-378a-4bb3-aa9f-3c15b98138a4" providerId="ADAL" clId="{3F5618C8-8D5E-4E2B-8F0D-3AAFE622726E}" dt="2024-06-19T09:41:16.342" v="71"/>
          <ac:spMkLst>
            <pc:docMk/>
            <pc:sldMk cId="1033735204" sldId="2147473091"/>
            <ac:spMk id="19" creationId="{EF2046B5-F9DD-0DEB-8FD8-6B7BBAF3EB39}"/>
          </ac:spMkLst>
        </pc:spChg>
        <pc:picChg chg="add del mod">
          <ac:chgData name="Fatma Alsagaf" userId="ef587b5e-378a-4bb3-aa9f-3c15b98138a4" providerId="ADAL" clId="{3F5618C8-8D5E-4E2B-8F0D-3AAFE622726E}" dt="2024-06-19T09:41:22.271" v="74" actId="21"/>
          <ac:picMkLst>
            <pc:docMk/>
            <pc:sldMk cId="1033735204" sldId="2147473091"/>
            <ac:picMk id="3" creationId="{E46CE561-B4E7-E56A-082A-68B4BB3BDAA4}"/>
          </ac:picMkLst>
        </pc:picChg>
      </pc:sldChg>
      <pc:sldChg chg="addSp delSp modSp add del mod ord">
        <pc:chgData name="Fatma Alsagaf" userId="ef587b5e-378a-4bb3-aa9f-3c15b98138a4" providerId="ADAL" clId="{3F5618C8-8D5E-4E2B-8F0D-3AAFE622726E}" dt="2024-06-20T17:47:02.879" v="3099" actId="47"/>
        <pc:sldMkLst>
          <pc:docMk/>
          <pc:sldMk cId="3597947410" sldId="2147473091"/>
        </pc:sldMkLst>
        <pc:spChg chg="mod">
          <ac:chgData name="Fatma Alsagaf" userId="ef587b5e-378a-4bb3-aa9f-3c15b98138a4" providerId="ADAL" clId="{3F5618C8-8D5E-4E2B-8F0D-3AAFE622726E}" dt="2024-06-19T11:33:22.256" v="808" actId="20577"/>
          <ac:spMkLst>
            <pc:docMk/>
            <pc:sldMk cId="3597947410" sldId="2147473091"/>
            <ac:spMk id="2" creationId="{CEBE68B3-3D2B-26E7-8D09-AB06B6160E64}"/>
          </ac:spMkLst>
        </pc:spChg>
        <pc:spChg chg="add del mod">
          <ac:chgData name="Fatma Alsagaf" userId="ef587b5e-378a-4bb3-aa9f-3c15b98138a4" providerId="ADAL" clId="{3F5618C8-8D5E-4E2B-8F0D-3AAFE622726E}" dt="2024-06-19T11:32:43.875" v="783" actId="478"/>
          <ac:spMkLst>
            <pc:docMk/>
            <pc:sldMk cId="3597947410" sldId="2147473091"/>
            <ac:spMk id="4" creationId="{5F7D2F8D-4522-AF24-7EFC-8AFC10D52545}"/>
          </ac:spMkLst>
        </pc:spChg>
        <pc:spChg chg="del">
          <ac:chgData name="Fatma Alsagaf" userId="ef587b5e-378a-4bb3-aa9f-3c15b98138a4" providerId="ADAL" clId="{3F5618C8-8D5E-4E2B-8F0D-3AAFE622726E}" dt="2024-06-19T11:32:40.948" v="782" actId="478"/>
          <ac:spMkLst>
            <pc:docMk/>
            <pc:sldMk cId="3597947410" sldId="2147473091"/>
            <ac:spMk id="5" creationId="{DA7A2B57-5F04-B672-BFA3-33D21356CE8A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6" creationId="{1BD1C0B7-3A66-7C31-5D03-82C19F6EB036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2" creationId="{DEC9BE23-798D-FFAA-64CA-90D4A546272B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3" creationId="{E3F6A907-EA10-4DD1-BE09-8598F7DF6B6B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4" creationId="{CCBB22F6-F920-73E8-E523-C3BF4A9BACBF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6" creationId="{4B1A35B3-6CB8-9F1E-2679-422C6CA11B73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7" creationId="{FBEBB5D8-5A53-97E7-7276-6546892C6A57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8" creationId="{F8DE706C-6919-9BD2-7C07-2A4BAFA673DB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19" creationId="{337B9A5E-2ECA-5B6B-8713-B1ABD6E882D3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20" creationId="{F7D4F1F9-36C5-71C8-A496-85A0B4A547C3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21" creationId="{8BD40CF6-DB08-A235-DAFB-1069231C7523}"/>
          </ac:spMkLst>
        </pc:spChg>
        <pc:spChg chg="add del mod">
          <ac:chgData name="Fatma Alsagaf" userId="ef587b5e-378a-4bb3-aa9f-3c15b98138a4" providerId="ADAL" clId="{3F5618C8-8D5E-4E2B-8F0D-3AAFE622726E}" dt="2024-06-19T11:32:50.416" v="787"/>
          <ac:spMkLst>
            <pc:docMk/>
            <pc:sldMk cId="3597947410" sldId="2147473091"/>
            <ac:spMk id="22" creationId="{FE9A7DB2-5A26-CEFF-C2B7-B73D0D4CDD2F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23" creationId="{B1F854F2-448C-05EB-41AE-A79C0D9BFA87}"/>
          </ac:spMkLst>
        </pc:spChg>
        <pc:spChg chg="del">
          <ac:chgData name="Fatma Alsagaf" userId="ef587b5e-378a-4bb3-aa9f-3c15b98138a4" providerId="ADAL" clId="{3F5618C8-8D5E-4E2B-8F0D-3AAFE622726E}" dt="2024-06-19T11:32:40.948" v="782" actId="478"/>
          <ac:spMkLst>
            <pc:docMk/>
            <pc:sldMk cId="3597947410" sldId="2147473091"/>
            <ac:spMk id="26" creationId="{1E85372C-9AB9-32BE-40F2-489CA328D08F}"/>
          </ac:spMkLst>
        </pc:spChg>
        <pc:spChg chg="del">
          <ac:chgData name="Fatma Alsagaf" userId="ef587b5e-378a-4bb3-aa9f-3c15b98138a4" providerId="ADAL" clId="{3F5618C8-8D5E-4E2B-8F0D-3AAFE622726E}" dt="2024-06-19T11:32:40.948" v="782" actId="478"/>
          <ac:spMkLst>
            <pc:docMk/>
            <pc:sldMk cId="3597947410" sldId="2147473091"/>
            <ac:spMk id="30" creationId="{E1DAC783-6590-BF15-94B5-FD050DA1C913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1" creationId="{A62F5389-E0DB-38D9-C78B-0D0D01C490CB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2" creationId="{FF47AD65-6FB8-3B43-F421-852133EB996E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3" creationId="{98BCEAE7-4637-DA04-29E5-68722D4E61A4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4" creationId="{C6309499-3F7F-27AD-EE52-6937143730E0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5" creationId="{C47F3D8F-9213-35B9-82DB-FE3010F35D47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6" creationId="{52DC0F8D-4C6E-3350-9085-401BD0D72362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7" creationId="{A4BECA51-8AB7-FCEF-D666-67209F7DFF68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8" creationId="{60FB1C22-FDC6-7627-51FE-92B1246EDFEE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39" creationId="{927492E2-9498-9034-7382-8793EC82D8E0}"/>
          </ac:spMkLst>
        </pc:spChg>
        <pc:spChg chg="add del mod">
          <ac:chgData name="Fatma Alsagaf" userId="ef587b5e-378a-4bb3-aa9f-3c15b98138a4" providerId="ADAL" clId="{3F5618C8-8D5E-4E2B-8F0D-3AAFE622726E}" dt="2024-06-19T11:32:52.857" v="791"/>
          <ac:spMkLst>
            <pc:docMk/>
            <pc:sldMk cId="3597947410" sldId="2147473091"/>
            <ac:spMk id="40" creationId="{0DB020AB-F7EC-94BF-EC9E-A85B405D9921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41" creationId="{16311E2B-DC15-A227-A853-F706845C6EA7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47" creationId="{456D7F5A-6164-BAAB-7829-499F00BDB847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48" creationId="{F348A433-2CC9-0A06-63C5-9BC58D45C506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49" creationId="{33975C9F-C5DA-3D1F-8316-A2848D50BE31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0" creationId="{BAF7552B-0616-C214-3988-87BBBF06DE1D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1" creationId="{FF59DCA3-3006-BE62-E30C-C889F51C81ED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2" creationId="{2218A69E-72BF-E89B-8140-E9CAAFD46659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3" creationId="{08A39163-7ADE-6032-3F58-C51C9EC26F99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4" creationId="{5A7846DE-BE44-CC4A-590D-14C314C1C128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5" creationId="{FF7875FF-A5BE-CCE0-EBA2-AC9E6AE27099}"/>
          </ac:spMkLst>
        </pc:spChg>
        <pc:spChg chg="add mod">
          <ac:chgData name="Fatma Alsagaf" userId="ef587b5e-378a-4bb3-aa9f-3c15b98138a4" providerId="ADAL" clId="{3F5618C8-8D5E-4E2B-8F0D-3AAFE622726E}" dt="2024-06-19T11:33:01.678" v="794" actId="1076"/>
          <ac:spMkLst>
            <pc:docMk/>
            <pc:sldMk cId="3597947410" sldId="2147473091"/>
            <ac:spMk id="56" creationId="{BF2A616F-B0DF-32DB-885D-C68030BA5ADD}"/>
          </ac:spMkLst>
        </pc:spChg>
        <pc:picChg chg="add del mod">
          <ac:chgData name="Fatma Alsagaf" userId="ef587b5e-378a-4bb3-aa9f-3c15b98138a4" providerId="ADAL" clId="{3F5618C8-8D5E-4E2B-8F0D-3AAFE622726E}" dt="2024-06-19T11:32:50.416" v="787"/>
          <ac:picMkLst>
            <pc:docMk/>
            <pc:sldMk cId="3597947410" sldId="2147473091"/>
            <ac:picMk id="7" creationId="{BA80527A-30A7-56D1-DBCC-27093965DA0C}"/>
          </ac:picMkLst>
        </pc:picChg>
        <pc:picChg chg="add del mod">
          <ac:chgData name="Fatma Alsagaf" userId="ef587b5e-378a-4bb3-aa9f-3c15b98138a4" providerId="ADAL" clId="{3F5618C8-8D5E-4E2B-8F0D-3AAFE622726E}" dt="2024-06-19T11:32:50.416" v="787"/>
          <ac:picMkLst>
            <pc:docMk/>
            <pc:sldMk cId="3597947410" sldId="2147473091"/>
            <ac:picMk id="8" creationId="{09ADA149-6F36-EE25-BD0A-F945E0FCBEC4}"/>
          </ac:picMkLst>
        </pc:picChg>
        <pc:picChg chg="add del mod">
          <ac:chgData name="Fatma Alsagaf" userId="ef587b5e-378a-4bb3-aa9f-3c15b98138a4" providerId="ADAL" clId="{3F5618C8-8D5E-4E2B-8F0D-3AAFE622726E}" dt="2024-06-19T11:32:50.416" v="787"/>
          <ac:picMkLst>
            <pc:docMk/>
            <pc:sldMk cId="3597947410" sldId="2147473091"/>
            <ac:picMk id="9" creationId="{99BBFDA5-1B51-C6B3-58B1-07728E4E41DB}"/>
          </ac:picMkLst>
        </pc:picChg>
        <pc:picChg chg="add del mod">
          <ac:chgData name="Fatma Alsagaf" userId="ef587b5e-378a-4bb3-aa9f-3c15b98138a4" providerId="ADAL" clId="{3F5618C8-8D5E-4E2B-8F0D-3AAFE622726E}" dt="2024-06-19T11:32:50.416" v="787"/>
          <ac:picMkLst>
            <pc:docMk/>
            <pc:sldMk cId="3597947410" sldId="2147473091"/>
            <ac:picMk id="10" creationId="{C913D44D-F685-08D7-D380-E53890CDC38D}"/>
          </ac:picMkLst>
        </pc:picChg>
        <pc:picChg chg="add del mod">
          <ac:chgData name="Fatma Alsagaf" userId="ef587b5e-378a-4bb3-aa9f-3c15b98138a4" providerId="ADAL" clId="{3F5618C8-8D5E-4E2B-8F0D-3AAFE622726E}" dt="2024-06-19T11:32:50.416" v="787"/>
          <ac:picMkLst>
            <pc:docMk/>
            <pc:sldMk cId="3597947410" sldId="2147473091"/>
            <ac:picMk id="11" creationId="{78BCB594-E3E4-DEA8-4A26-3922997D5AA0}"/>
          </ac:picMkLst>
        </pc:picChg>
        <pc:picChg chg="del">
          <ac:chgData name="Fatma Alsagaf" userId="ef587b5e-378a-4bb3-aa9f-3c15b98138a4" providerId="ADAL" clId="{3F5618C8-8D5E-4E2B-8F0D-3AAFE622726E}" dt="2024-06-19T11:32:40.948" v="782" actId="478"/>
          <ac:picMkLst>
            <pc:docMk/>
            <pc:sldMk cId="3597947410" sldId="2147473091"/>
            <ac:picMk id="15" creationId="{EF8A7B10-5FAB-740D-1BF6-71A62C7C6189}"/>
          </ac:picMkLst>
        </pc:picChg>
        <pc:picChg chg="add del mod">
          <ac:chgData name="Fatma Alsagaf" userId="ef587b5e-378a-4bb3-aa9f-3c15b98138a4" providerId="ADAL" clId="{3F5618C8-8D5E-4E2B-8F0D-3AAFE622726E}" dt="2024-06-19T11:32:52.857" v="791"/>
          <ac:picMkLst>
            <pc:docMk/>
            <pc:sldMk cId="3597947410" sldId="2147473091"/>
            <ac:picMk id="24" creationId="{5FB56FA3-EF0C-47DF-93E4-5620CC29D995}"/>
          </ac:picMkLst>
        </pc:picChg>
        <pc:picChg chg="add del mod">
          <ac:chgData name="Fatma Alsagaf" userId="ef587b5e-378a-4bb3-aa9f-3c15b98138a4" providerId="ADAL" clId="{3F5618C8-8D5E-4E2B-8F0D-3AAFE622726E}" dt="2024-06-19T11:32:52.857" v="791"/>
          <ac:picMkLst>
            <pc:docMk/>
            <pc:sldMk cId="3597947410" sldId="2147473091"/>
            <ac:picMk id="25" creationId="{75BF5783-CDA4-CAB0-FF33-E0796901A715}"/>
          </ac:picMkLst>
        </pc:picChg>
        <pc:picChg chg="add del mod">
          <ac:chgData name="Fatma Alsagaf" userId="ef587b5e-378a-4bb3-aa9f-3c15b98138a4" providerId="ADAL" clId="{3F5618C8-8D5E-4E2B-8F0D-3AAFE622726E}" dt="2024-06-19T11:32:52.857" v="791"/>
          <ac:picMkLst>
            <pc:docMk/>
            <pc:sldMk cId="3597947410" sldId="2147473091"/>
            <ac:picMk id="27" creationId="{F6176377-C38D-B997-3C62-9B41718AD900}"/>
          </ac:picMkLst>
        </pc:picChg>
        <pc:picChg chg="add del mod">
          <ac:chgData name="Fatma Alsagaf" userId="ef587b5e-378a-4bb3-aa9f-3c15b98138a4" providerId="ADAL" clId="{3F5618C8-8D5E-4E2B-8F0D-3AAFE622726E}" dt="2024-06-19T11:32:52.857" v="791"/>
          <ac:picMkLst>
            <pc:docMk/>
            <pc:sldMk cId="3597947410" sldId="2147473091"/>
            <ac:picMk id="28" creationId="{05A0B2CD-2D27-36FC-191F-A1C16D345212}"/>
          </ac:picMkLst>
        </pc:picChg>
        <pc:picChg chg="add del mod">
          <ac:chgData name="Fatma Alsagaf" userId="ef587b5e-378a-4bb3-aa9f-3c15b98138a4" providerId="ADAL" clId="{3F5618C8-8D5E-4E2B-8F0D-3AAFE622726E}" dt="2024-06-19T11:32:52.857" v="791"/>
          <ac:picMkLst>
            <pc:docMk/>
            <pc:sldMk cId="3597947410" sldId="2147473091"/>
            <ac:picMk id="29" creationId="{BC18F3F7-7571-E6FC-14D4-150715366397}"/>
          </ac:picMkLst>
        </pc:picChg>
        <pc:picChg chg="add mod">
          <ac:chgData name="Fatma Alsagaf" userId="ef587b5e-378a-4bb3-aa9f-3c15b98138a4" providerId="ADAL" clId="{3F5618C8-8D5E-4E2B-8F0D-3AAFE622726E}" dt="2024-06-19T11:33:01.678" v="794" actId="1076"/>
          <ac:picMkLst>
            <pc:docMk/>
            <pc:sldMk cId="3597947410" sldId="2147473091"/>
            <ac:picMk id="42" creationId="{A9514A7B-5FA0-6131-46F4-65CBF00B9E0D}"/>
          </ac:picMkLst>
        </pc:picChg>
        <pc:picChg chg="add mod">
          <ac:chgData name="Fatma Alsagaf" userId="ef587b5e-378a-4bb3-aa9f-3c15b98138a4" providerId="ADAL" clId="{3F5618C8-8D5E-4E2B-8F0D-3AAFE622726E}" dt="2024-06-19T11:33:01.678" v="794" actId="1076"/>
          <ac:picMkLst>
            <pc:docMk/>
            <pc:sldMk cId="3597947410" sldId="2147473091"/>
            <ac:picMk id="43" creationId="{EEFCC68E-8B69-A083-8E39-B59503A3F33E}"/>
          </ac:picMkLst>
        </pc:picChg>
        <pc:picChg chg="add mod">
          <ac:chgData name="Fatma Alsagaf" userId="ef587b5e-378a-4bb3-aa9f-3c15b98138a4" providerId="ADAL" clId="{3F5618C8-8D5E-4E2B-8F0D-3AAFE622726E}" dt="2024-06-19T11:33:01.678" v="794" actId="1076"/>
          <ac:picMkLst>
            <pc:docMk/>
            <pc:sldMk cId="3597947410" sldId="2147473091"/>
            <ac:picMk id="44" creationId="{A76938AA-7407-17CC-9A8F-683DDE2238E0}"/>
          </ac:picMkLst>
        </pc:picChg>
        <pc:picChg chg="add mod">
          <ac:chgData name="Fatma Alsagaf" userId="ef587b5e-378a-4bb3-aa9f-3c15b98138a4" providerId="ADAL" clId="{3F5618C8-8D5E-4E2B-8F0D-3AAFE622726E}" dt="2024-06-19T11:33:01.678" v="794" actId="1076"/>
          <ac:picMkLst>
            <pc:docMk/>
            <pc:sldMk cId="3597947410" sldId="2147473091"/>
            <ac:picMk id="45" creationId="{D0887A11-0463-E61E-C081-38F4A9E7FB92}"/>
          </ac:picMkLst>
        </pc:picChg>
        <pc:picChg chg="add mod">
          <ac:chgData name="Fatma Alsagaf" userId="ef587b5e-378a-4bb3-aa9f-3c15b98138a4" providerId="ADAL" clId="{3F5618C8-8D5E-4E2B-8F0D-3AAFE622726E}" dt="2024-06-19T11:33:01.678" v="794" actId="1076"/>
          <ac:picMkLst>
            <pc:docMk/>
            <pc:sldMk cId="3597947410" sldId="2147473091"/>
            <ac:picMk id="46" creationId="{23BB01D8-7BED-1262-C574-0528C4BE516D}"/>
          </ac:picMkLst>
        </pc:picChg>
      </pc:sldChg>
      <pc:sldChg chg="addSp delSp modSp add mod modNotesTx">
        <pc:chgData name="Fatma Alsagaf" userId="ef587b5e-378a-4bb3-aa9f-3c15b98138a4" providerId="ADAL" clId="{3F5618C8-8D5E-4E2B-8F0D-3AAFE622726E}" dt="2024-07-02T07:09:00.090" v="10583" actId="6549"/>
        <pc:sldMkLst>
          <pc:docMk/>
          <pc:sldMk cId="838989585" sldId="2147473092"/>
        </pc:sldMkLst>
        <pc:spChg chg="add del mod">
          <ac:chgData name="Fatma Alsagaf" userId="ef587b5e-378a-4bb3-aa9f-3c15b98138a4" providerId="ADAL" clId="{3F5618C8-8D5E-4E2B-8F0D-3AAFE622726E}" dt="2024-06-19T11:44:46.040" v="1024" actId="478"/>
          <ac:spMkLst>
            <pc:docMk/>
            <pc:sldMk cId="838989585" sldId="2147473092"/>
            <ac:spMk id="2" creationId="{0A187A1E-49FF-3E68-BF44-77D70207CCD1}"/>
          </ac:spMkLst>
        </pc:spChg>
        <pc:spChg chg="add del mod">
          <ac:chgData name="Fatma Alsagaf" userId="ef587b5e-378a-4bb3-aa9f-3c15b98138a4" providerId="ADAL" clId="{3F5618C8-8D5E-4E2B-8F0D-3AAFE622726E}" dt="2024-06-19T11:44:41.167" v="1022"/>
          <ac:spMkLst>
            <pc:docMk/>
            <pc:sldMk cId="838989585" sldId="2147473092"/>
            <ac:spMk id="3" creationId="{37D150E6-67EC-A1F3-4987-3A79C8353326}"/>
          </ac:spMkLst>
        </pc:spChg>
        <pc:spChg chg="mod">
          <ac:chgData name="Fatma Alsagaf" userId="ef587b5e-378a-4bb3-aa9f-3c15b98138a4" providerId="ADAL" clId="{3F5618C8-8D5E-4E2B-8F0D-3AAFE622726E}" dt="2024-06-19T11:44:17.198" v="1014" actId="20577"/>
          <ac:spMkLst>
            <pc:docMk/>
            <pc:sldMk cId="838989585" sldId="2147473092"/>
            <ac:spMk id="4" creationId="{788E24FD-F32F-9DCA-E527-1AA3604CA56C}"/>
          </ac:spMkLst>
        </pc:spChg>
        <pc:spChg chg="add del">
          <ac:chgData name="Fatma Alsagaf" userId="ef587b5e-378a-4bb3-aa9f-3c15b98138a4" providerId="ADAL" clId="{3F5618C8-8D5E-4E2B-8F0D-3AAFE622726E}" dt="2024-06-19T11:46:14.447" v="1041" actId="478"/>
          <ac:spMkLst>
            <pc:docMk/>
            <pc:sldMk cId="838989585" sldId="2147473092"/>
            <ac:spMk id="5" creationId="{1D5A6E04-BED8-8B82-52B7-12341DD35120}"/>
          </ac:spMkLst>
        </pc:spChg>
        <pc:spChg chg="mod">
          <ac:chgData name="Fatma Alsagaf" userId="ef587b5e-378a-4bb3-aa9f-3c15b98138a4" providerId="ADAL" clId="{3F5618C8-8D5E-4E2B-8F0D-3AAFE622726E}" dt="2024-06-21T13:03:31.933" v="5816" actId="14100"/>
          <ac:spMkLst>
            <pc:docMk/>
            <pc:sldMk cId="838989585" sldId="2147473092"/>
            <ac:spMk id="7" creationId="{342BA732-E6DD-C66E-607A-8AFAD860D4E8}"/>
          </ac:spMkLst>
        </pc:spChg>
        <pc:spChg chg="mod">
          <ac:chgData name="Fatma Alsagaf" userId="ef587b5e-378a-4bb3-aa9f-3c15b98138a4" providerId="ADAL" clId="{3F5618C8-8D5E-4E2B-8F0D-3AAFE622726E}" dt="2024-06-24T08:46:35.613" v="9243" actId="21"/>
          <ac:spMkLst>
            <pc:docMk/>
            <pc:sldMk cId="838989585" sldId="2147473092"/>
            <ac:spMk id="8" creationId="{4275E03C-0524-91A9-8B41-AA65EAF880D0}"/>
          </ac:spMkLst>
        </pc:spChg>
        <pc:spChg chg="add del">
          <ac:chgData name="Fatma Alsagaf" userId="ef587b5e-378a-4bb3-aa9f-3c15b98138a4" providerId="ADAL" clId="{3F5618C8-8D5E-4E2B-8F0D-3AAFE622726E}" dt="2024-06-19T11:49:39.960" v="1055" actId="22"/>
          <ac:spMkLst>
            <pc:docMk/>
            <pc:sldMk cId="838989585" sldId="2147473092"/>
            <ac:spMk id="9" creationId="{4E83AE06-0C3D-99F7-4270-B89E7F5B04FE}"/>
          </ac:spMkLst>
        </pc:spChg>
        <pc:spChg chg="mod">
          <ac:chgData name="Fatma Alsagaf" userId="ef587b5e-378a-4bb3-aa9f-3c15b98138a4" providerId="ADAL" clId="{3F5618C8-8D5E-4E2B-8F0D-3AAFE622726E}" dt="2024-06-21T13:03:39.381" v="5818" actId="14100"/>
          <ac:spMkLst>
            <pc:docMk/>
            <pc:sldMk cId="838989585" sldId="2147473092"/>
            <ac:spMk id="10" creationId="{A1659B12-F9AE-C6E6-8987-4FC6CA8E4FB2}"/>
          </ac:spMkLst>
        </pc:spChg>
        <pc:spChg chg="mod">
          <ac:chgData name="Fatma Alsagaf" userId="ef587b5e-378a-4bb3-aa9f-3c15b98138a4" providerId="ADAL" clId="{3F5618C8-8D5E-4E2B-8F0D-3AAFE622726E}" dt="2024-06-24T06:38:15.823" v="8248" actId="6549"/>
          <ac:spMkLst>
            <pc:docMk/>
            <pc:sldMk cId="838989585" sldId="2147473092"/>
            <ac:spMk id="11" creationId="{9B9995EB-5208-1824-E033-C68C82F55921}"/>
          </ac:spMkLst>
        </pc:spChg>
        <pc:spChg chg="add mod">
          <ac:chgData name="Fatma Alsagaf" userId="ef587b5e-378a-4bb3-aa9f-3c15b98138a4" providerId="ADAL" clId="{3F5618C8-8D5E-4E2B-8F0D-3AAFE622726E}" dt="2024-06-21T13:03:43.593" v="5820" actId="14100"/>
          <ac:spMkLst>
            <pc:docMk/>
            <pc:sldMk cId="838989585" sldId="2147473092"/>
            <ac:spMk id="12" creationId="{C64268DE-72C8-B6C9-3F31-32CCA8E84C03}"/>
          </ac:spMkLst>
        </pc:spChg>
        <pc:spChg chg="add mod">
          <ac:chgData name="Fatma Alsagaf" userId="ef587b5e-378a-4bb3-aa9f-3c15b98138a4" providerId="ADAL" clId="{3F5618C8-8D5E-4E2B-8F0D-3AAFE622726E}" dt="2024-06-24T08:47:05.358" v="9256" actId="20577"/>
          <ac:spMkLst>
            <pc:docMk/>
            <pc:sldMk cId="838989585" sldId="2147473092"/>
            <ac:spMk id="13" creationId="{5B4B932B-D635-8B25-0F07-1DEBDDEC878C}"/>
          </ac:spMkLst>
        </pc:spChg>
      </pc:sldChg>
      <pc:sldChg chg="addSp delSp modSp add mod ord">
        <pc:chgData name="Fatma Alsagaf" userId="ef587b5e-378a-4bb3-aa9f-3c15b98138a4" providerId="ADAL" clId="{3F5618C8-8D5E-4E2B-8F0D-3AAFE622726E}" dt="2024-06-24T08:51:08.979" v="9377" actId="14100"/>
        <pc:sldMkLst>
          <pc:docMk/>
          <pc:sldMk cId="2199537455" sldId="2147473093"/>
        </pc:sldMkLst>
        <pc:spChg chg="add del">
          <ac:chgData name="Fatma Alsagaf" userId="ef587b5e-378a-4bb3-aa9f-3c15b98138a4" providerId="ADAL" clId="{3F5618C8-8D5E-4E2B-8F0D-3AAFE622726E}" dt="2024-06-19T11:53:22.177" v="1209"/>
          <ac:spMkLst>
            <pc:docMk/>
            <pc:sldMk cId="2199537455" sldId="2147473093"/>
            <ac:spMk id="2" creationId="{FE519717-70D2-86CA-8100-A54C36231D50}"/>
          </ac:spMkLst>
        </pc:spChg>
        <pc:spChg chg="add del mod">
          <ac:chgData name="Fatma Alsagaf" userId="ef587b5e-378a-4bb3-aa9f-3c15b98138a4" providerId="ADAL" clId="{3F5618C8-8D5E-4E2B-8F0D-3AAFE622726E}" dt="2024-06-19T12:00:15.221" v="1252" actId="47"/>
          <ac:spMkLst>
            <pc:docMk/>
            <pc:sldMk cId="2199537455" sldId="2147473093"/>
            <ac:spMk id="3" creationId="{ADD1ECA7-C9FD-3900-C2C9-383E1CB65A7D}"/>
          </ac:spMkLst>
        </pc:spChg>
        <pc:spChg chg="mod">
          <ac:chgData name="Fatma Alsagaf" userId="ef587b5e-378a-4bb3-aa9f-3c15b98138a4" providerId="ADAL" clId="{3F5618C8-8D5E-4E2B-8F0D-3AAFE622726E}" dt="2024-06-19T12:07:15.563" v="1265" actId="207"/>
          <ac:spMkLst>
            <pc:docMk/>
            <pc:sldMk cId="2199537455" sldId="2147473093"/>
            <ac:spMk id="4" creationId="{788E24FD-F32F-9DCA-E527-1AA3604CA56C}"/>
          </ac:spMkLst>
        </pc:spChg>
        <pc:spChg chg="add del mod">
          <ac:chgData name="Fatma Alsagaf" userId="ef587b5e-378a-4bb3-aa9f-3c15b98138a4" providerId="ADAL" clId="{3F5618C8-8D5E-4E2B-8F0D-3AAFE622726E}" dt="2024-06-19T12:17:23.296" v="1304" actId="478"/>
          <ac:spMkLst>
            <pc:docMk/>
            <pc:sldMk cId="2199537455" sldId="2147473093"/>
            <ac:spMk id="5" creationId="{EFDEE918-9932-4E9C-64B7-F19337A9742C}"/>
          </ac:spMkLst>
        </pc:spChg>
        <pc:spChg chg="del">
          <ac:chgData name="Fatma Alsagaf" userId="ef587b5e-378a-4bb3-aa9f-3c15b98138a4" providerId="ADAL" clId="{3F5618C8-8D5E-4E2B-8F0D-3AAFE622726E}" dt="2024-06-19T11:51:15.471" v="1057" actId="478"/>
          <ac:spMkLst>
            <pc:docMk/>
            <pc:sldMk cId="2199537455" sldId="2147473093"/>
            <ac:spMk id="7" creationId="{342BA732-E6DD-C66E-607A-8AFAD860D4E8}"/>
          </ac:spMkLst>
        </pc:spChg>
        <pc:spChg chg="del">
          <ac:chgData name="Fatma Alsagaf" userId="ef587b5e-378a-4bb3-aa9f-3c15b98138a4" providerId="ADAL" clId="{3F5618C8-8D5E-4E2B-8F0D-3AAFE622726E}" dt="2024-06-19T11:51:22.323" v="1059" actId="478"/>
          <ac:spMkLst>
            <pc:docMk/>
            <pc:sldMk cId="2199537455" sldId="2147473093"/>
            <ac:spMk id="8" creationId="{4275E03C-0524-91A9-8B41-AA65EAF880D0}"/>
          </ac:spMkLst>
        </pc:spChg>
        <pc:spChg chg="del">
          <ac:chgData name="Fatma Alsagaf" userId="ef587b5e-378a-4bb3-aa9f-3c15b98138a4" providerId="ADAL" clId="{3F5618C8-8D5E-4E2B-8F0D-3AAFE622726E}" dt="2024-06-19T11:51:15.471" v="1057" actId="478"/>
          <ac:spMkLst>
            <pc:docMk/>
            <pc:sldMk cId="2199537455" sldId="2147473093"/>
            <ac:spMk id="10" creationId="{A1659B12-F9AE-C6E6-8987-4FC6CA8E4FB2}"/>
          </ac:spMkLst>
        </pc:spChg>
        <pc:spChg chg="del">
          <ac:chgData name="Fatma Alsagaf" userId="ef587b5e-378a-4bb3-aa9f-3c15b98138a4" providerId="ADAL" clId="{3F5618C8-8D5E-4E2B-8F0D-3AAFE622726E}" dt="2024-06-19T11:51:19.010" v="1058" actId="478"/>
          <ac:spMkLst>
            <pc:docMk/>
            <pc:sldMk cId="2199537455" sldId="2147473093"/>
            <ac:spMk id="11" creationId="{9B9995EB-5208-1824-E033-C68C82F55921}"/>
          </ac:spMkLst>
        </pc:spChg>
        <pc:spChg chg="add mod">
          <ac:chgData name="Fatma Alsagaf" userId="ef587b5e-378a-4bb3-aa9f-3c15b98138a4" providerId="ADAL" clId="{3F5618C8-8D5E-4E2B-8F0D-3AAFE622726E}" dt="2024-06-24T08:51:04.274" v="9376" actId="14100"/>
          <ac:spMkLst>
            <pc:docMk/>
            <pc:sldMk cId="2199537455" sldId="2147473093"/>
            <ac:spMk id="13" creationId="{03172ED0-057C-1452-E6E5-1DC16725A5D9}"/>
          </ac:spMkLst>
        </pc:spChg>
        <pc:spChg chg="add del mod">
          <ac:chgData name="Fatma Alsagaf" userId="ef587b5e-378a-4bb3-aa9f-3c15b98138a4" providerId="ADAL" clId="{3F5618C8-8D5E-4E2B-8F0D-3AAFE622726E}" dt="2024-06-21T04:56:36.131" v="3273"/>
          <ac:spMkLst>
            <pc:docMk/>
            <pc:sldMk cId="2199537455" sldId="2147473093"/>
            <ac:spMk id="14" creationId="{EEED045A-7DD5-CCEE-9DF8-325F8A4B4E5C}"/>
          </ac:spMkLst>
        </pc:spChg>
        <pc:spChg chg="add del mod">
          <ac:chgData name="Fatma Alsagaf" userId="ef587b5e-378a-4bb3-aa9f-3c15b98138a4" providerId="ADAL" clId="{3F5618C8-8D5E-4E2B-8F0D-3AAFE622726E}" dt="2024-06-21T04:56:36.131" v="3273"/>
          <ac:spMkLst>
            <pc:docMk/>
            <pc:sldMk cId="2199537455" sldId="2147473093"/>
            <ac:spMk id="15" creationId="{CC5F3831-4CFF-4CE2-B0DA-33E10ECD07CF}"/>
          </ac:spMkLst>
        </pc:spChg>
        <pc:spChg chg="add mod">
          <ac:chgData name="Fatma Alsagaf" userId="ef587b5e-378a-4bb3-aa9f-3c15b98138a4" providerId="ADAL" clId="{3F5618C8-8D5E-4E2B-8F0D-3AAFE622726E}" dt="2024-06-24T08:51:08.979" v="9377" actId="14100"/>
          <ac:spMkLst>
            <pc:docMk/>
            <pc:sldMk cId="2199537455" sldId="2147473093"/>
            <ac:spMk id="16" creationId="{570CDBE4-CF76-8E8B-64BC-378610B25DBB}"/>
          </ac:spMkLst>
        </pc:spChg>
        <pc:spChg chg="add del mod">
          <ac:chgData name="Fatma Alsagaf" userId="ef587b5e-378a-4bb3-aa9f-3c15b98138a4" providerId="ADAL" clId="{3F5618C8-8D5E-4E2B-8F0D-3AAFE622726E}" dt="2024-06-21T11:20:24.115" v="3855" actId="478"/>
          <ac:spMkLst>
            <pc:docMk/>
            <pc:sldMk cId="2199537455" sldId="2147473093"/>
            <ac:spMk id="17" creationId="{5BD8E2CE-813B-4C8B-EC10-E1769D3B5F1F}"/>
          </ac:spMkLst>
        </pc:spChg>
        <pc:spChg chg="add del mod">
          <ac:chgData name="Fatma Alsagaf" userId="ef587b5e-378a-4bb3-aa9f-3c15b98138a4" providerId="ADAL" clId="{3F5618C8-8D5E-4E2B-8F0D-3AAFE622726E}" dt="2024-06-21T07:25:48.625" v="3433"/>
          <ac:spMkLst>
            <pc:docMk/>
            <pc:sldMk cId="2199537455" sldId="2147473093"/>
            <ac:spMk id="18" creationId="{BE0C74E8-EF70-11C5-E692-75606E0AAAF9}"/>
          </ac:spMkLst>
        </pc:spChg>
        <pc:spChg chg="add mod">
          <ac:chgData name="Fatma Alsagaf" userId="ef587b5e-378a-4bb3-aa9f-3c15b98138a4" providerId="ADAL" clId="{3F5618C8-8D5E-4E2B-8F0D-3AAFE622726E}" dt="2024-06-21T13:27:32.832" v="6449" actId="20577"/>
          <ac:spMkLst>
            <pc:docMk/>
            <pc:sldMk cId="2199537455" sldId="2147473093"/>
            <ac:spMk id="28" creationId="{DEF9ED11-4CFA-AD09-AB2E-ADD53343E798}"/>
          </ac:spMkLst>
        </pc:spChg>
        <pc:spChg chg="add mod">
          <ac:chgData name="Fatma Alsagaf" userId="ef587b5e-378a-4bb3-aa9f-3c15b98138a4" providerId="ADAL" clId="{3F5618C8-8D5E-4E2B-8F0D-3AAFE622726E}" dt="2024-06-21T13:27:37.772" v="6450" actId="20577"/>
          <ac:spMkLst>
            <pc:docMk/>
            <pc:sldMk cId="2199537455" sldId="2147473093"/>
            <ac:spMk id="29" creationId="{F27CA674-7111-C02F-1894-6FAB1F04707F}"/>
          </ac:spMkLst>
        </pc:spChg>
        <pc:graphicFrameChg chg="add del mod modGraphic">
          <ac:chgData name="Fatma Alsagaf" userId="ef587b5e-378a-4bb3-aa9f-3c15b98138a4" providerId="ADAL" clId="{3F5618C8-8D5E-4E2B-8F0D-3AAFE622726E}" dt="2024-06-20T15:21:00.433" v="2545" actId="478"/>
          <ac:graphicFrameMkLst>
            <pc:docMk/>
            <pc:sldMk cId="2199537455" sldId="2147473093"/>
            <ac:graphicFrameMk id="6" creationId="{F68A6E1C-EC66-C8BF-C894-ABE85C593884}"/>
          </ac:graphicFrameMkLst>
        </pc:graphicFrameChg>
        <pc:graphicFrameChg chg="add del modGraphic">
          <ac:chgData name="Fatma Alsagaf" userId="ef587b5e-378a-4bb3-aa9f-3c15b98138a4" providerId="ADAL" clId="{3F5618C8-8D5E-4E2B-8F0D-3AAFE622726E}" dt="2024-06-19T12:22:48.957" v="1375" actId="478"/>
          <ac:graphicFrameMkLst>
            <pc:docMk/>
            <pc:sldMk cId="2199537455" sldId="2147473093"/>
            <ac:graphicFrameMk id="12" creationId="{A3293E67-5CB5-E5A3-43A8-DA0716572311}"/>
          </ac:graphicFrameMkLst>
        </pc:graphicFrameChg>
        <pc:graphicFrameChg chg="add del mod modGraphic">
          <ac:chgData name="Fatma Alsagaf" userId="ef587b5e-378a-4bb3-aa9f-3c15b98138a4" providerId="ADAL" clId="{3F5618C8-8D5E-4E2B-8F0D-3AAFE622726E}" dt="2024-06-21T07:32:48.643" v="3575" actId="478"/>
          <ac:graphicFrameMkLst>
            <pc:docMk/>
            <pc:sldMk cId="2199537455" sldId="2147473093"/>
            <ac:graphicFrameMk id="19" creationId="{EE6D1274-E4AF-DADF-7A6F-3C4DC004D161}"/>
          </ac:graphicFrameMkLst>
        </pc:graphicFrameChg>
        <pc:picChg chg="add del mod">
          <ac:chgData name="Fatma Alsagaf" userId="ef587b5e-378a-4bb3-aa9f-3c15b98138a4" providerId="ADAL" clId="{3F5618C8-8D5E-4E2B-8F0D-3AAFE622726E}" dt="2024-06-21T07:42:41.446" v="3645" actId="21"/>
          <ac:picMkLst>
            <pc:docMk/>
            <pc:sldMk cId="2199537455" sldId="2147473093"/>
            <ac:picMk id="21" creationId="{7CB32063-6CCF-027C-2811-E95689E29B02}"/>
          </ac:picMkLst>
        </pc:picChg>
        <pc:picChg chg="add del mod modCrop">
          <ac:chgData name="Fatma Alsagaf" userId="ef587b5e-378a-4bb3-aa9f-3c15b98138a4" providerId="ADAL" clId="{3F5618C8-8D5E-4E2B-8F0D-3AAFE622726E}" dt="2024-06-21T07:42:41.446" v="3645" actId="21"/>
          <ac:picMkLst>
            <pc:docMk/>
            <pc:sldMk cId="2199537455" sldId="2147473093"/>
            <ac:picMk id="23" creationId="{64212BEB-CD18-CA05-25D8-E825F054D1E9}"/>
          </ac:picMkLst>
        </pc:picChg>
        <pc:picChg chg="add del mod">
          <ac:chgData name="Fatma Alsagaf" userId="ef587b5e-378a-4bb3-aa9f-3c15b98138a4" providerId="ADAL" clId="{3F5618C8-8D5E-4E2B-8F0D-3AAFE622726E}" dt="2024-06-21T07:42:41.446" v="3645" actId="21"/>
          <ac:picMkLst>
            <pc:docMk/>
            <pc:sldMk cId="2199537455" sldId="2147473093"/>
            <ac:picMk id="25" creationId="{11263356-D294-43FA-AE44-C943AB4F604A}"/>
          </ac:picMkLst>
        </pc:picChg>
        <pc:picChg chg="add del mod">
          <ac:chgData name="Fatma Alsagaf" userId="ef587b5e-378a-4bb3-aa9f-3c15b98138a4" providerId="ADAL" clId="{3F5618C8-8D5E-4E2B-8F0D-3AAFE622726E}" dt="2024-06-21T07:42:41.446" v="3645" actId="21"/>
          <ac:picMkLst>
            <pc:docMk/>
            <pc:sldMk cId="2199537455" sldId="2147473093"/>
            <ac:picMk id="27" creationId="{45D3F7B5-95E6-963B-8218-BD22A5A30750}"/>
          </ac:picMkLst>
        </pc:picChg>
      </pc:sldChg>
      <pc:sldChg chg="addSp delSp modSp add del mod">
        <pc:chgData name="Fatma Alsagaf" userId="ef587b5e-378a-4bb3-aa9f-3c15b98138a4" providerId="ADAL" clId="{3F5618C8-8D5E-4E2B-8F0D-3AAFE622726E}" dt="2024-06-20T17:46:48.926" v="3098" actId="47"/>
        <pc:sldMkLst>
          <pc:docMk/>
          <pc:sldMk cId="3232982727" sldId="2147473094"/>
        </pc:sldMkLst>
        <pc:spChg chg="add del mod">
          <ac:chgData name="Fatma Alsagaf" userId="ef587b5e-378a-4bb3-aa9f-3c15b98138a4" providerId="ADAL" clId="{3F5618C8-8D5E-4E2B-8F0D-3AAFE622726E}" dt="2024-06-20T07:25:43.794" v="2059" actId="478"/>
          <ac:spMkLst>
            <pc:docMk/>
            <pc:sldMk cId="3232982727" sldId="2147473094"/>
            <ac:spMk id="2" creationId="{2B27B052-886B-9312-6A18-1C874C943617}"/>
          </ac:spMkLst>
        </pc:spChg>
        <pc:spChg chg="del mod">
          <ac:chgData name="Fatma Alsagaf" userId="ef587b5e-378a-4bb3-aa9f-3c15b98138a4" providerId="ADAL" clId="{3F5618C8-8D5E-4E2B-8F0D-3AAFE622726E}" dt="2024-06-19T12:43:36.375" v="1529" actId="478"/>
          <ac:spMkLst>
            <pc:docMk/>
            <pc:sldMk cId="3232982727" sldId="2147473094"/>
            <ac:spMk id="4" creationId="{788E24FD-F32F-9DCA-E527-1AA3604CA56C}"/>
          </ac:spMkLst>
        </pc:spChg>
        <pc:spChg chg="add del mod">
          <ac:chgData name="Fatma Alsagaf" userId="ef587b5e-378a-4bb3-aa9f-3c15b98138a4" providerId="ADAL" clId="{3F5618C8-8D5E-4E2B-8F0D-3AAFE622726E}" dt="2024-06-19T12:43:21.830" v="1526"/>
          <ac:spMkLst>
            <pc:docMk/>
            <pc:sldMk cId="3232982727" sldId="2147473094"/>
            <ac:spMk id="5" creationId="{B7A35FBE-E91F-2B08-530C-4A0F14DE5179}"/>
          </ac:spMkLst>
        </pc:spChg>
        <pc:spChg chg="add mod">
          <ac:chgData name="Fatma Alsagaf" userId="ef587b5e-378a-4bb3-aa9f-3c15b98138a4" providerId="ADAL" clId="{3F5618C8-8D5E-4E2B-8F0D-3AAFE622726E}" dt="2024-06-19T12:43:27.963" v="1528"/>
          <ac:spMkLst>
            <pc:docMk/>
            <pc:sldMk cId="3232982727" sldId="2147473094"/>
            <ac:spMk id="7" creationId="{67CC92FA-3529-FB2D-9948-3F3611CF7122}"/>
          </ac:spMkLst>
        </pc:spChg>
        <pc:spChg chg="add del mod">
          <ac:chgData name="Fatma Alsagaf" userId="ef587b5e-378a-4bb3-aa9f-3c15b98138a4" providerId="ADAL" clId="{3F5618C8-8D5E-4E2B-8F0D-3AAFE622726E}" dt="2024-06-19T12:43:39.715" v="1530" actId="478"/>
          <ac:spMkLst>
            <pc:docMk/>
            <pc:sldMk cId="3232982727" sldId="2147473094"/>
            <ac:spMk id="9" creationId="{2E9B3070-286A-FCDB-1856-69F013EE0D9E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0" creationId="{868DCAAE-9277-EA2C-EA23-E2C6E95360D4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1" creationId="{D2338358-DE72-C7A2-2536-2D459C7F1799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2" creationId="{922B99C2-D645-F607-7572-714CABA06317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3" creationId="{574E60AC-6AA3-AD6F-6661-786DC85E6085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4" creationId="{0C7790D2-8350-5F8F-4912-099601E9DF2F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5" creationId="{DCD09FC2-D4C4-2567-2BCA-8640753690D4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6" creationId="{BF31B442-DED1-1850-53BC-98E492EBB408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7" creationId="{568B4AFD-57AD-55C5-2E1E-A0C88CE371EC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8" creationId="{5BCF1DBB-D833-6F47-C530-7297052D54FC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19" creationId="{8E73DB6B-6B5D-301A-5F70-8DBB1EA48564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0" creationId="{D76AC5CD-E176-6F62-414F-41859A009122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1" creationId="{7672579F-1E9B-A466-3C54-BFD1ACD65903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2" creationId="{6713C240-92AE-D3E5-6BE2-1232C4314FCC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3" creationId="{53593C21-2733-48E2-367A-A75690F5F29D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4" creationId="{6706629B-2BDF-09A5-F954-D8C7C2A06ABD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5" creationId="{F3472D9D-7D60-BE12-7F6D-67EBD9916003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6" creationId="{97193DCC-243F-5163-95AF-45C8C6518FC4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7" creationId="{CA133420-D352-C656-AF7D-C7DDBC9154D9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8" creationId="{09861E72-32D8-0237-CE7C-00AAE04C2EC1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29" creationId="{469BBDFB-7B73-C36D-94CB-9E6F919C6E4F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0" creationId="{2BA682E6-5662-2930-DA20-EA87E5BABB05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1" creationId="{DB0D91A6-7B65-9C33-FE21-A39873A48F96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2" creationId="{F705FD66-1A3D-04AC-137F-B769A86BC61C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3" creationId="{423ED1FA-AAF5-D280-C940-681E13B9C3BC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4" creationId="{B0406D9D-E573-634A-32C6-C86D1650C3EB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5" creationId="{142A4AAC-34B0-3EAF-6267-EA564E804A82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6" creationId="{3FD83B7B-AE79-F82E-ABA2-76E40AC73C24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7" creationId="{B0DF7DD8-139C-0763-4069-96F0A7D6FD93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8" creationId="{10221F42-6DFC-99C9-0D00-464AA14F72FF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39" creationId="{67736C4C-69CC-FAC2-9F0B-E7F0332295CC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0" creationId="{72176930-FDF7-C449-620E-FE968B9FD3A8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1" creationId="{4CA953E8-2621-793D-5476-951823799F72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2" creationId="{130B2D25-28C2-38B5-85AB-54763C9E9EFF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3" creationId="{9F11ABDC-B33D-0978-7DFC-7AE4710C9479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4" creationId="{B1562E35-4C3F-6BC7-700C-7CB31BE406A5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5" creationId="{ADC110AC-97D7-E9FC-498B-83D81AAA9CB2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6" creationId="{5E697257-4E12-67B4-E105-C764F8BD3F00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7" creationId="{B4ACACD5-905E-F0F7-0484-5F8F2BC3AFBD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8" creationId="{FAD90249-F29C-1B70-D36B-DF9E9950836B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49" creationId="{0180B0D2-0B99-FA26-C99B-9CF3D6F8BBDF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50" creationId="{083DDD34-7B9E-2A85-16B7-FD49E682AF01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51" creationId="{B95849CC-F803-79B0-B133-6CAAEF827771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52" creationId="{9793C2F9-4813-28CB-A79F-F63CFC40B6CA}"/>
          </ac:spMkLst>
        </pc:spChg>
        <pc:spChg chg="add mod">
          <ac:chgData name="Fatma Alsagaf" userId="ef587b5e-378a-4bb3-aa9f-3c15b98138a4" providerId="ADAL" clId="{3F5618C8-8D5E-4E2B-8F0D-3AAFE622726E}" dt="2024-06-20T07:25:44.132" v="2060"/>
          <ac:spMkLst>
            <pc:docMk/>
            <pc:sldMk cId="3232982727" sldId="2147473094"/>
            <ac:spMk id="53" creationId="{77231225-68D0-FBA0-5A62-0E5D2D14AF67}"/>
          </ac:spMkLst>
        </pc:spChg>
        <pc:graphicFrameChg chg="del">
          <ac:chgData name="Fatma Alsagaf" userId="ef587b5e-378a-4bb3-aa9f-3c15b98138a4" providerId="ADAL" clId="{3F5618C8-8D5E-4E2B-8F0D-3AAFE622726E}" dt="2024-06-19T12:19:45.447" v="1323" actId="478"/>
          <ac:graphicFrameMkLst>
            <pc:docMk/>
            <pc:sldMk cId="3232982727" sldId="2147473094"/>
            <ac:graphicFrameMk id="6" creationId="{F68A6E1C-EC66-C8BF-C894-ABE85C593884}"/>
          </ac:graphicFrameMkLst>
        </pc:graphicFrameChg>
      </pc:sldChg>
      <pc:sldChg chg="addSp delSp modSp add del mod modNotesTx">
        <pc:chgData name="Fatma Alsagaf" userId="ef587b5e-378a-4bb3-aa9f-3c15b98138a4" providerId="ADAL" clId="{3F5618C8-8D5E-4E2B-8F0D-3AAFE622726E}" dt="2024-07-02T10:31:14.066" v="10675" actId="1036"/>
        <pc:sldMkLst>
          <pc:docMk/>
          <pc:sldMk cId="305294600" sldId="2147473095"/>
        </pc:sldMkLst>
        <pc:spChg chg="mod">
          <ac:chgData name="Fatma Alsagaf" userId="ef587b5e-378a-4bb3-aa9f-3c15b98138a4" providerId="ADAL" clId="{3F5618C8-8D5E-4E2B-8F0D-3AAFE622726E}" dt="2024-06-24T09:40:49.140" v="9496" actId="403"/>
          <ac:spMkLst>
            <pc:docMk/>
            <pc:sldMk cId="305294600" sldId="2147473095"/>
            <ac:spMk id="2" creationId="{2B27B052-886B-9312-6A18-1C874C943617}"/>
          </ac:spMkLst>
        </pc:spChg>
        <pc:spChg chg="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3" creationId="{ADD1ECA7-C9FD-3900-C2C9-383E1CB65A7D}"/>
          </ac:spMkLst>
        </pc:spChg>
        <pc:spChg chg="add mod">
          <ac:chgData name="Fatma Alsagaf" userId="ef587b5e-378a-4bb3-aa9f-3c15b98138a4" providerId="ADAL" clId="{3F5618C8-8D5E-4E2B-8F0D-3AAFE622726E}" dt="2024-06-24T07:58:27.194" v="8681" actId="1035"/>
          <ac:spMkLst>
            <pc:docMk/>
            <pc:sldMk cId="305294600" sldId="2147473095"/>
            <ac:spMk id="4" creationId="{BDF08F88-1DBC-064C-CB65-BEFD944B5584}"/>
          </ac:spMkLst>
        </pc:spChg>
        <pc:spChg chg="add mod">
          <ac:chgData name="Fatma Alsagaf" userId="ef587b5e-378a-4bb3-aa9f-3c15b98138a4" providerId="ADAL" clId="{3F5618C8-8D5E-4E2B-8F0D-3AAFE622726E}" dt="2024-06-24T08:06:44.708" v="8866" actId="20577"/>
          <ac:spMkLst>
            <pc:docMk/>
            <pc:sldMk cId="305294600" sldId="2147473095"/>
            <ac:spMk id="5" creationId="{A2872F5B-DBF0-86CC-1C42-2D378BDC10B2}"/>
          </ac:spMkLst>
        </pc:spChg>
        <pc:spChg chg="add mod">
          <ac:chgData name="Fatma Alsagaf" userId="ef587b5e-378a-4bb3-aa9f-3c15b98138a4" providerId="ADAL" clId="{3F5618C8-8D5E-4E2B-8F0D-3AAFE622726E}" dt="2024-06-24T07:58:27.194" v="8681" actId="1035"/>
          <ac:spMkLst>
            <pc:docMk/>
            <pc:sldMk cId="305294600" sldId="2147473095"/>
            <ac:spMk id="6" creationId="{E72A62A2-F6B2-CAC2-04EC-06F8D2DC4E47}"/>
          </ac:spMkLst>
        </pc:spChg>
        <pc:spChg chg="mod">
          <ac:chgData name="Fatma Alsagaf" userId="ef587b5e-378a-4bb3-aa9f-3c15b98138a4" providerId="ADAL" clId="{3F5618C8-8D5E-4E2B-8F0D-3AAFE622726E}" dt="2024-06-24T06:11:44.465" v="7420" actId="108"/>
          <ac:spMkLst>
            <pc:docMk/>
            <pc:sldMk cId="305294600" sldId="2147473095"/>
            <ac:spMk id="7" creationId="{67CC92FA-3529-FB2D-9948-3F3611CF7122}"/>
          </ac:spMkLst>
        </pc:spChg>
        <pc:spChg chg="add del mod">
          <ac:chgData name="Fatma Alsagaf" userId="ef587b5e-378a-4bb3-aa9f-3c15b98138a4" providerId="ADAL" clId="{3F5618C8-8D5E-4E2B-8F0D-3AAFE622726E}" dt="2024-06-19T12:45:15.640" v="1572" actId="478"/>
          <ac:spMkLst>
            <pc:docMk/>
            <pc:sldMk cId="305294600" sldId="2147473095"/>
            <ac:spMk id="8" creationId="{57921CFF-D6BA-417F-087D-DC4CA05617C2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8" creationId="{C3765135-F03A-028E-E265-5949405F901C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9" creationId="{B1372FA6-702A-7C75-1CA3-D63E78B6FC56}"/>
          </ac:spMkLst>
        </pc:spChg>
        <pc:spChg chg="add del mod">
          <ac:chgData name="Fatma Alsagaf" userId="ef587b5e-378a-4bb3-aa9f-3c15b98138a4" providerId="ADAL" clId="{3F5618C8-8D5E-4E2B-8F0D-3AAFE622726E}" dt="2024-06-19T12:47:58.752" v="1769" actId="11529"/>
          <ac:spMkLst>
            <pc:docMk/>
            <pc:sldMk cId="305294600" sldId="2147473095"/>
            <ac:spMk id="9" creationId="{E2DEA5FF-D8C5-F6F8-86DA-F765E79A1B66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10" creationId="{32F1CC5E-5F57-627A-980A-DFF90C4A04A9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11" creationId="{769532F0-0850-28ED-D701-F9EB68E7117A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12" creationId="{5E44D262-F740-743E-CB54-6FF1D7BC5681}"/>
          </ac:spMkLst>
        </pc:spChg>
        <pc:spChg chg="add del mod">
          <ac:chgData name="Fatma Alsagaf" userId="ef587b5e-378a-4bb3-aa9f-3c15b98138a4" providerId="ADAL" clId="{3F5618C8-8D5E-4E2B-8F0D-3AAFE622726E}" dt="2024-06-19T13:40:01.239" v="2049" actId="478"/>
          <ac:spMkLst>
            <pc:docMk/>
            <pc:sldMk cId="305294600" sldId="2147473095"/>
            <ac:spMk id="12" creationId="{AFD52AEB-973F-BA4F-B0B0-1CD593EDB114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13" creationId="{B7F5D2D5-B538-6C2F-9129-A2B49B3135E8}"/>
          </ac:spMkLst>
        </pc:spChg>
        <pc:spChg chg="add del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14" creationId="{C633A11B-BD98-A9EF-FBC4-F0239F32D17B}"/>
          </ac:spMkLst>
        </pc:spChg>
        <pc:spChg chg="add mod">
          <ac:chgData name="Fatma Alsagaf" userId="ef587b5e-378a-4bb3-aa9f-3c15b98138a4" providerId="ADAL" clId="{3F5618C8-8D5E-4E2B-8F0D-3AAFE622726E}" dt="2024-07-02T10:31:03.326" v="10664" actId="14100"/>
          <ac:spMkLst>
            <pc:docMk/>
            <pc:sldMk cId="305294600" sldId="2147473095"/>
            <ac:spMk id="15" creationId="{084F7208-FE02-1668-DE15-05DE3E0474C7}"/>
          </ac:spMkLst>
        </pc:spChg>
        <pc:spChg chg="add del mod">
          <ac:chgData name="Fatma Alsagaf" userId="ef587b5e-378a-4bb3-aa9f-3c15b98138a4" providerId="ADAL" clId="{3F5618C8-8D5E-4E2B-8F0D-3AAFE622726E}" dt="2024-06-19T13:22:48.444" v="2029" actId="478"/>
          <ac:spMkLst>
            <pc:docMk/>
            <pc:sldMk cId="305294600" sldId="2147473095"/>
            <ac:spMk id="15" creationId="{5E29ADD5-A998-49E8-9C1E-801F79FE1F3A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16" creationId="{B4FFE5F9-9155-160A-0D54-77FE1F664747}"/>
          </ac:spMkLst>
        </pc:spChg>
        <pc:spChg chg="add del mod">
          <ac:chgData name="Fatma Alsagaf" userId="ef587b5e-378a-4bb3-aa9f-3c15b98138a4" providerId="ADAL" clId="{3F5618C8-8D5E-4E2B-8F0D-3AAFE622726E}" dt="2024-06-20T09:01:39.953" v="2283" actId="478"/>
          <ac:spMkLst>
            <pc:docMk/>
            <pc:sldMk cId="305294600" sldId="2147473095"/>
            <ac:spMk id="16" creationId="{B689F536-2F9D-613E-079A-A0E10C339097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17" creationId="{E5F1022C-5BFC-5AD2-7A6B-DB9B997DF796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18" creationId="{92C87612-B689-A81D-49E7-F16245F2F965}"/>
          </ac:spMkLst>
        </pc:spChg>
        <pc:spChg chg="add del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19" creationId="{5D296AFD-5178-B4F6-815E-E3A90AF31E9A}"/>
          </ac:spMkLst>
        </pc:spChg>
        <pc:spChg chg="add del mod">
          <ac:chgData name="Fatma Alsagaf" userId="ef587b5e-378a-4bb3-aa9f-3c15b98138a4" providerId="ADAL" clId="{3F5618C8-8D5E-4E2B-8F0D-3AAFE622726E}" dt="2024-06-20T15:07:15.757" v="2477" actId="478"/>
          <ac:spMkLst>
            <pc:docMk/>
            <pc:sldMk cId="305294600" sldId="2147473095"/>
            <ac:spMk id="20" creationId="{8C8A4BCA-682C-D4A3-65CD-9645F516F0B1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20" creationId="{93B7B233-5E35-0EF0-20A8-A25A5A0716AD}"/>
          </ac:spMkLst>
        </pc:spChg>
        <pc:spChg chg="add mod">
          <ac:chgData name="Fatma Alsagaf" userId="ef587b5e-378a-4bb3-aa9f-3c15b98138a4" providerId="ADAL" clId="{3F5618C8-8D5E-4E2B-8F0D-3AAFE622726E}" dt="2024-07-01T12:29:29.694" v="10366" actId="1036"/>
          <ac:spMkLst>
            <pc:docMk/>
            <pc:sldMk cId="305294600" sldId="2147473095"/>
            <ac:spMk id="21" creationId="{0272B9F0-22D0-B8F5-A189-6028E85C0C47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22" creationId="{1DFD0AE3-83C1-3365-F45D-919F3F1CAD2E}"/>
          </ac:spMkLst>
        </pc:spChg>
        <pc:spChg chg="add del mod">
          <ac:chgData name="Fatma Alsagaf" userId="ef587b5e-378a-4bb3-aa9f-3c15b98138a4" providerId="ADAL" clId="{3F5618C8-8D5E-4E2B-8F0D-3AAFE622726E}" dt="2024-06-20T16:41:45.155" v="2924"/>
          <ac:spMkLst>
            <pc:docMk/>
            <pc:sldMk cId="305294600" sldId="2147473095"/>
            <ac:spMk id="23" creationId="{999096FF-F54E-3E0E-85AB-B8AE732AE7D6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23" creationId="{F9CF6FA7-A81E-6CB9-773D-7D6881D8E4E1}"/>
          </ac:spMkLst>
        </pc:spChg>
        <pc:spChg chg="add del mod">
          <ac:chgData name="Fatma Alsagaf" userId="ef587b5e-378a-4bb3-aa9f-3c15b98138a4" providerId="ADAL" clId="{3F5618C8-8D5E-4E2B-8F0D-3AAFE622726E}" dt="2024-06-24T04:55:18.586" v="6871" actId="478"/>
          <ac:spMkLst>
            <pc:docMk/>
            <pc:sldMk cId="305294600" sldId="2147473095"/>
            <ac:spMk id="24" creationId="{28BDB747-AF37-1755-97C8-884E326AA3DD}"/>
          </ac:spMkLst>
        </pc:spChg>
        <pc:spChg chg="add del mod">
          <ac:chgData name="Fatma Alsagaf" userId="ef587b5e-378a-4bb3-aa9f-3c15b98138a4" providerId="ADAL" clId="{3F5618C8-8D5E-4E2B-8F0D-3AAFE622726E}" dt="2024-06-20T16:41:43.726" v="2921"/>
          <ac:spMkLst>
            <pc:docMk/>
            <pc:sldMk cId="305294600" sldId="2147473095"/>
            <ac:spMk id="24" creationId="{8150979E-F4D6-43CD-7BC6-31A7901621C1}"/>
          </ac:spMkLst>
        </pc:spChg>
        <pc:spChg chg="add del mod">
          <ac:chgData name="Fatma Alsagaf" userId="ef587b5e-378a-4bb3-aa9f-3c15b98138a4" providerId="ADAL" clId="{3F5618C8-8D5E-4E2B-8F0D-3AAFE622726E}" dt="2024-07-02T10:31:05.755" v="10672"/>
          <ac:spMkLst>
            <pc:docMk/>
            <pc:sldMk cId="305294600" sldId="2147473095"/>
            <ac:spMk id="24" creationId="{EDCA4E12-9B73-437B-C1FF-F46CB533C914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25" creationId="{8970F88E-DBD7-7097-8128-EA0EA83EC236}"/>
          </ac:spMkLst>
        </pc:spChg>
        <pc:spChg chg="add del mod">
          <ac:chgData name="Fatma Alsagaf" userId="ef587b5e-378a-4bb3-aa9f-3c15b98138a4" providerId="ADAL" clId="{3F5618C8-8D5E-4E2B-8F0D-3AAFE622726E}" dt="2024-06-24T04:55:18.586" v="6871" actId="478"/>
          <ac:spMkLst>
            <pc:docMk/>
            <pc:sldMk cId="305294600" sldId="2147473095"/>
            <ac:spMk id="26" creationId="{54327E93-8D65-849F-DBB9-BE0C498C8384}"/>
          </ac:spMkLst>
        </pc:spChg>
        <pc:spChg chg="add del mod">
          <ac:chgData name="Fatma Alsagaf" userId="ef587b5e-378a-4bb3-aa9f-3c15b98138a4" providerId="ADAL" clId="{3F5618C8-8D5E-4E2B-8F0D-3AAFE622726E}" dt="2024-06-24T04:54:23.242" v="6851" actId="478"/>
          <ac:spMkLst>
            <pc:docMk/>
            <pc:sldMk cId="305294600" sldId="2147473095"/>
            <ac:spMk id="27" creationId="{542374A7-5072-115C-0EFB-8184B7863AF8}"/>
          </ac:spMkLst>
        </pc:spChg>
        <pc:spChg chg="add del mod">
          <ac:chgData name="Fatma Alsagaf" userId="ef587b5e-378a-4bb3-aa9f-3c15b98138a4" providerId="ADAL" clId="{3F5618C8-8D5E-4E2B-8F0D-3AAFE622726E}" dt="2024-06-24T04:54:23.242" v="6851" actId="478"/>
          <ac:spMkLst>
            <pc:docMk/>
            <pc:sldMk cId="305294600" sldId="2147473095"/>
            <ac:spMk id="28" creationId="{2F035304-65D8-7262-2B57-5B88358AD331}"/>
          </ac:spMkLst>
        </pc:spChg>
        <pc:spChg chg="add mod">
          <ac:chgData name="Fatma Alsagaf" userId="ef587b5e-378a-4bb3-aa9f-3c15b98138a4" providerId="ADAL" clId="{3F5618C8-8D5E-4E2B-8F0D-3AAFE622726E}" dt="2024-06-24T09:39:07.963" v="9492" actId="20577"/>
          <ac:spMkLst>
            <pc:docMk/>
            <pc:sldMk cId="305294600" sldId="2147473095"/>
            <ac:spMk id="29" creationId="{F96C413A-03C5-90BF-3643-0A39203D99EA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30" creationId="{826368D9-06C5-8FD1-C8A6-BB419B84FCE6}"/>
          </ac:spMkLst>
        </pc:spChg>
        <pc:spChg chg="add mod">
          <ac:chgData name="Fatma Alsagaf" userId="ef587b5e-378a-4bb3-aa9f-3c15b98138a4" providerId="ADAL" clId="{3F5618C8-8D5E-4E2B-8F0D-3AAFE622726E}" dt="2024-07-02T10:31:14.066" v="10675" actId="1036"/>
          <ac:spMkLst>
            <pc:docMk/>
            <pc:sldMk cId="305294600" sldId="2147473095"/>
            <ac:spMk id="31" creationId="{68DB6AB1-2531-DB5D-E618-D66E4B9EC5EA}"/>
          </ac:spMkLst>
        </pc:spChg>
      </pc:sldChg>
      <pc:sldChg chg="addSp delSp modSp new del mod">
        <pc:chgData name="Fatma Alsagaf" userId="ef587b5e-378a-4bb3-aa9f-3c15b98138a4" providerId="ADAL" clId="{3F5618C8-8D5E-4E2B-8F0D-3AAFE622726E}" dt="2024-06-21T12:43:11.731" v="5436" actId="47"/>
        <pc:sldMkLst>
          <pc:docMk/>
          <pc:sldMk cId="668472510" sldId="2147473096"/>
        </pc:sldMkLst>
        <pc:spChg chg="del">
          <ac:chgData name="Fatma Alsagaf" userId="ef587b5e-378a-4bb3-aa9f-3c15b98138a4" providerId="ADAL" clId="{3F5618C8-8D5E-4E2B-8F0D-3AAFE622726E}" dt="2024-06-21T07:42:00.268" v="3635" actId="478"/>
          <ac:spMkLst>
            <pc:docMk/>
            <pc:sldMk cId="668472510" sldId="2147473096"/>
            <ac:spMk id="2" creationId="{7D190FE5-5325-C54C-E40D-2620E0B7E6AE}"/>
          </ac:spMkLst>
        </pc:spChg>
        <pc:graphicFrameChg chg="add del modGraphic">
          <ac:chgData name="Fatma Alsagaf" userId="ef587b5e-378a-4bb3-aa9f-3c15b98138a4" providerId="ADAL" clId="{3F5618C8-8D5E-4E2B-8F0D-3AAFE622726E}" dt="2024-06-21T07:40:41.018" v="3623" actId="478"/>
          <ac:graphicFrameMkLst>
            <pc:docMk/>
            <pc:sldMk cId="668472510" sldId="2147473096"/>
            <ac:graphicFrameMk id="3" creationId="{D7EDEB99-B366-9BF1-34A3-1D73EE8E128F}"/>
          </ac:graphicFrameMkLst>
        </pc:graphicFrameChg>
        <pc:graphicFrameChg chg="add del modGraphic">
          <ac:chgData name="Fatma Alsagaf" userId="ef587b5e-378a-4bb3-aa9f-3c15b98138a4" providerId="ADAL" clId="{3F5618C8-8D5E-4E2B-8F0D-3AAFE622726E}" dt="2024-06-21T07:40:38.529" v="3622" actId="478"/>
          <ac:graphicFrameMkLst>
            <pc:docMk/>
            <pc:sldMk cId="668472510" sldId="2147473096"/>
            <ac:graphicFrameMk id="4" creationId="{2243C6C2-9B89-A7FA-AC06-C21782E8B6C0}"/>
          </ac:graphicFrameMkLst>
        </pc:graphicFrameChg>
        <pc:graphicFrameChg chg="add del mod modGraphic">
          <ac:chgData name="Fatma Alsagaf" userId="ef587b5e-378a-4bb3-aa9f-3c15b98138a4" providerId="ADAL" clId="{3F5618C8-8D5E-4E2B-8F0D-3AAFE622726E}" dt="2024-06-21T07:58:51.031" v="3738" actId="478"/>
          <ac:graphicFrameMkLst>
            <pc:docMk/>
            <pc:sldMk cId="668472510" sldId="2147473096"/>
            <ac:graphicFrameMk id="5" creationId="{3F32D0D8-561F-C702-E0A1-8B9826C85AF5}"/>
          </ac:graphicFrameMkLst>
        </pc:graphicFrameChg>
        <pc:picChg chg="add del mod">
          <ac:chgData name="Fatma Alsagaf" userId="ef587b5e-378a-4bb3-aa9f-3c15b98138a4" providerId="ADAL" clId="{3F5618C8-8D5E-4E2B-8F0D-3AAFE622726E}" dt="2024-06-21T12:17:29.171" v="5270" actId="21"/>
          <ac:picMkLst>
            <pc:docMk/>
            <pc:sldMk cId="668472510" sldId="2147473096"/>
            <ac:picMk id="6" creationId="{121C77A8-74D6-73E3-B364-2F78B385EF3F}"/>
          </ac:picMkLst>
        </pc:picChg>
        <pc:picChg chg="add del mod">
          <ac:chgData name="Fatma Alsagaf" userId="ef587b5e-378a-4bb3-aa9f-3c15b98138a4" providerId="ADAL" clId="{3F5618C8-8D5E-4E2B-8F0D-3AAFE622726E}" dt="2024-06-21T12:34:04.367" v="5380" actId="21"/>
          <ac:picMkLst>
            <pc:docMk/>
            <pc:sldMk cId="668472510" sldId="2147473096"/>
            <ac:picMk id="7" creationId="{28BD6AE9-E352-A221-D88E-116E0187C09A}"/>
          </ac:picMkLst>
        </pc:picChg>
        <pc:picChg chg="add del mod">
          <ac:chgData name="Fatma Alsagaf" userId="ef587b5e-378a-4bb3-aa9f-3c15b98138a4" providerId="ADAL" clId="{3F5618C8-8D5E-4E2B-8F0D-3AAFE622726E}" dt="2024-06-21T12:34:30.594" v="5383" actId="21"/>
          <ac:picMkLst>
            <pc:docMk/>
            <pc:sldMk cId="668472510" sldId="2147473096"/>
            <ac:picMk id="8" creationId="{97EA7DBC-114D-7E52-93B0-298E30C7D84F}"/>
          </ac:picMkLst>
        </pc:picChg>
        <pc:picChg chg="add del mod ord">
          <ac:chgData name="Fatma Alsagaf" userId="ef587b5e-378a-4bb3-aa9f-3c15b98138a4" providerId="ADAL" clId="{3F5618C8-8D5E-4E2B-8F0D-3AAFE622726E}" dt="2024-06-21T12:18:52.337" v="5284" actId="21"/>
          <ac:picMkLst>
            <pc:docMk/>
            <pc:sldMk cId="668472510" sldId="2147473096"/>
            <ac:picMk id="9" creationId="{FAF5E4CC-8B7A-D88D-A1BD-E417690FBABE}"/>
          </ac:picMkLst>
        </pc:picChg>
        <pc:picChg chg="add del mod ord">
          <ac:chgData name="Fatma Alsagaf" userId="ef587b5e-378a-4bb3-aa9f-3c15b98138a4" providerId="ADAL" clId="{3F5618C8-8D5E-4E2B-8F0D-3AAFE622726E}" dt="2024-06-21T12:34:02.519" v="5379" actId="478"/>
          <ac:picMkLst>
            <pc:docMk/>
            <pc:sldMk cId="668472510" sldId="2147473096"/>
            <ac:picMk id="11" creationId="{3AF61EB5-C8DB-01C9-FAE7-11068D6A0A18}"/>
          </ac:picMkLst>
        </pc:picChg>
        <pc:picChg chg="add del mod ord">
          <ac:chgData name="Fatma Alsagaf" userId="ef587b5e-378a-4bb3-aa9f-3c15b98138a4" providerId="ADAL" clId="{3F5618C8-8D5E-4E2B-8F0D-3AAFE622726E}" dt="2024-06-21T12:16:33.171" v="5251" actId="21"/>
          <ac:picMkLst>
            <pc:docMk/>
            <pc:sldMk cId="668472510" sldId="2147473096"/>
            <ac:picMk id="13" creationId="{50C7CA5B-8A48-2232-313B-29D6E25A3F47}"/>
          </ac:picMkLst>
        </pc:picChg>
        <pc:picChg chg="add del mod ord modCrop">
          <ac:chgData name="Fatma Alsagaf" userId="ef587b5e-378a-4bb3-aa9f-3c15b98138a4" providerId="ADAL" clId="{3F5618C8-8D5E-4E2B-8F0D-3AAFE622726E}" dt="2024-06-21T12:16:56.367" v="5257" actId="21"/>
          <ac:picMkLst>
            <pc:docMk/>
            <pc:sldMk cId="668472510" sldId="2147473096"/>
            <ac:picMk id="15" creationId="{0AD77DE9-EDB2-FDE3-C365-374DA4B4CA42}"/>
          </ac:picMkLst>
        </pc:picChg>
        <pc:picChg chg="add del mod">
          <ac:chgData name="Fatma Alsagaf" userId="ef587b5e-378a-4bb3-aa9f-3c15b98138a4" providerId="ADAL" clId="{3F5618C8-8D5E-4E2B-8F0D-3AAFE622726E}" dt="2024-06-21T12:16:14.934" v="5243" actId="21"/>
          <ac:picMkLst>
            <pc:docMk/>
            <pc:sldMk cId="668472510" sldId="2147473096"/>
            <ac:picMk id="17" creationId="{75413551-F8E2-84B0-04C9-5EFABD659AAB}"/>
          </ac:picMkLst>
        </pc:picChg>
        <pc:picChg chg="add del mod">
          <ac:chgData name="Fatma Alsagaf" userId="ef587b5e-378a-4bb3-aa9f-3c15b98138a4" providerId="ADAL" clId="{3F5618C8-8D5E-4E2B-8F0D-3AAFE622726E}" dt="2024-06-21T12:19:19.101" v="5288" actId="21"/>
          <ac:picMkLst>
            <pc:docMk/>
            <pc:sldMk cId="668472510" sldId="2147473096"/>
            <ac:picMk id="19" creationId="{C0FF067C-FE73-69A1-F0C2-11B209FB3F5A}"/>
          </ac:picMkLst>
        </pc:picChg>
        <pc:picChg chg="add del mod">
          <ac:chgData name="Fatma Alsagaf" userId="ef587b5e-378a-4bb3-aa9f-3c15b98138a4" providerId="ADAL" clId="{3F5618C8-8D5E-4E2B-8F0D-3AAFE622726E}" dt="2024-06-21T12:20:23.300" v="5294" actId="21"/>
          <ac:picMkLst>
            <pc:docMk/>
            <pc:sldMk cId="668472510" sldId="2147473096"/>
            <ac:picMk id="21" creationId="{10BDDBCF-E534-45CD-1FF9-1D210E11486C}"/>
          </ac:picMkLst>
        </pc:picChg>
        <pc:picChg chg="add del mod ord">
          <ac:chgData name="Fatma Alsagaf" userId="ef587b5e-378a-4bb3-aa9f-3c15b98138a4" providerId="ADAL" clId="{3F5618C8-8D5E-4E2B-8F0D-3AAFE622726E}" dt="2024-06-21T12:16:47.259" v="5254" actId="21"/>
          <ac:picMkLst>
            <pc:docMk/>
            <pc:sldMk cId="668472510" sldId="2147473096"/>
            <ac:picMk id="23" creationId="{4EE5AFDC-27B2-DF27-1759-7BB43E76C6DC}"/>
          </ac:picMkLst>
        </pc:picChg>
        <pc:picChg chg="add del mod ord">
          <ac:chgData name="Fatma Alsagaf" userId="ef587b5e-378a-4bb3-aa9f-3c15b98138a4" providerId="ADAL" clId="{3F5618C8-8D5E-4E2B-8F0D-3AAFE622726E}" dt="2024-06-21T12:16:23.700" v="5246" actId="21"/>
          <ac:picMkLst>
            <pc:docMk/>
            <pc:sldMk cId="668472510" sldId="2147473096"/>
            <ac:picMk id="25" creationId="{6BF7B732-71E0-9D5C-9AEC-38EC5E9A2A95}"/>
          </ac:picMkLst>
        </pc:picChg>
        <pc:picChg chg="add del mod">
          <ac:chgData name="Fatma Alsagaf" userId="ef587b5e-378a-4bb3-aa9f-3c15b98138a4" providerId="ADAL" clId="{3F5618C8-8D5E-4E2B-8F0D-3AAFE622726E}" dt="2024-06-21T12:17:08.508" v="5260" actId="21"/>
          <ac:picMkLst>
            <pc:docMk/>
            <pc:sldMk cId="668472510" sldId="2147473096"/>
            <ac:picMk id="27" creationId="{B6896347-7D2B-C4F0-FA5A-54C08B76DCE8}"/>
          </ac:picMkLst>
        </pc:picChg>
        <pc:picChg chg="add del mod">
          <ac:chgData name="Fatma Alsagaf" userId="ef587b5e-378a-4bb3-aa9f-3c15b98138a4" providerId="ADAL" clId="{3F5618C8-8D5E-4E2B-8F0D-3AAFE622726E}" dt="2024-06-21T12:38:56.146" v="5406" actId="21"/>
          <ac:picMkLst>
            <pc:docMk/>
            <pc:sldMk cId="668472510" sldId="2147473096"/>
            <ac:picMk id="29" creationId="{CA5FD37A-CB7C-E6BB-9807-3D9CE4BB657A}"/>
          </ac:picMkLst>
        </pc:picChg>
        <pc:picChg chg="add del mod">
          <ac:chgData name="Fatma Alsagaf" userId="ef587b5e-378a-4bb3-aa9f-3c15b98138a4" providerId="ADAL" clId="{3F5618C8-8D5E-4E2B-8F0D-3AAFE622726E}" dt="2024-06-21T12:12:52.450" v="5169" actId="21"/>
          <ac:picMkLst>
            <pc:docMk/>
            <pc:sldMk cId="668472510" sldId="2147473096"/>
            <ac:picMk id="31" creationId="{BE0902C9-26EA-0250-EC8A-1289BBC257DE}"/>
          </ac:picMkLst>
        </pc:picChg>
        <pc:picChg chg="add del mod">
          <ac:chgData name="Fatma Alsagaf" userId="ef587b5e-378a-4bb3-aa9f-3c15b98138a4" providerId="ADAL" clId="{3F5618C8-8D5E-4E2B-8F0D-3AAFE622726E}" dt="2024-06-21T11:40:09.778" v="4543" actId="478"/>
          <ac:picMkLst>
            <pc:docMk/>
            <pc:sldMk cId="668472510" sldId="2147473096"/>
            <ac:picMk id="33" creationId="{4571DCB1-6205-D348-AB04-53B7C5CA13A8}"/>
          </ac:picMkLst>
        </pc:picChg>
      </pc:sldChg>
      <pc:sldChg chg="addSp delSp modSp add del mod">
        <pc:chgData name="Fatma Alsagaf" userId="ef587b5e-378a-4bb3-aa9f-3c15b98138a4" providerId="ADAL" clId="{3F5618C8-8D5E-4E2B-8F0D-3AAFE622726E}" dt="2024-06-21T12:43:12.134" v="5437" actId="47"/>
        <pc:sldMkLst>
          <pc:docMk/>
          <pc:sldMk cId="1753881738" sldId="2147473097"/>
        </pc:sldMkLst>
        <pc:picChg chg="add del mod">
          <ac:chgData name="Fatma Alsagaf" userId="ef587b5e-378a-4bb3-aa9f-3c15b98138a4" providerId="ADAL" clId="{3F5618C8-8D5E-4E2B-8F0D-3AAFE622726E}" dt="2024-06-21T12:10:16.556" v="5042" actId="21"/>
          <ac:picMkLst>
            <pc:docMk/>
            <pc:sldMk cId="1753881738" sldId="2147473097"/>
            <ac:picMk id="3" creationId="{224E3B28-9DBC-3A7F-2255-825D6176C0A9}"/>
          </ac:picMkLst>
        </pc:picChg>
        <pc:picChg chg="add del mod">
          <ac:chgData name="Fatma Alsagaf" userId="ef587b5e-378a-4bb3-aa9f-3c15b98138a4" providerId="ADAL" clId="{3F5618C8-8D5E-4E2B-8F0D-3AAFE622726E}" dt="2024-06-21T12:42:37.823" v="5428" actId="21"/>
          <ac:picMkLst>
            <pc:docMk/>
            <pc:sldMk cId="1753881738" sldId="2147473097"/>
            <ac:picMk id="5" creationId="{09DBA26B-89DF-16EC-E943-4E3AF62663EA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6" creationId="{121C77A8-74D6-73E3-B364-2F78B385EF3F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7" creationId="{28BD6AE9-E352-A221-D88E-116E0187C09A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8" creationId="{97EA7DBC-114D-7E52-93B0-298E30C7D84F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9" creationId="{FAF5E4CC-8B7A-D88D-A1BD-E417690FBABE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11" creationId="{3AF61EB5-C8DB-01C9-FAE7-11068D6A0A18}"/>
          </ac:picMkLst>
        </pc:picChg>
        <pc:picChg chg="add del mod">
          <ac:chgData name="Fatma Alsagaf" userId="ef587b5e-378a-4bb3-aa9f-3c15b98138a4" providerId="ADAL" clId="{3F5618C8-8D5E-4E2B-8F0D-3AAFE622726E}" dt="2024-06-21T12:32:44.887" v="5355" actId="21"/>
          <ac:picMkLst>
            <pc:docMk/>
            <pc:sldMk cId="1753881738" sldId="2147473097"/>
            <ac:picMk id="12" creationId="{0B3D82F7-B21B-0376-7A86-8764C177EBD7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13" creationId="{50C7CA5B-8A48-2232-313B-29D6E25A3F47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15" creationId="{0AD77DE9-EDB2-FDE3-C365-374DA4B4CA42}"/>
          </ac:picMkLst>
        </pc:picChg>
        <pc:picChg chg="add mod">
          <ac:chgData name="Fatma Alsagaf" userId="ef587b5e-378a-4bb3-aa9f-3c15b98138a4" providerId="ADAL" clId="{3F5618C8-8D5E-4E2B-8F0D-3AAFE622726E}" dt="2024-06-21T12:38:36.296" v="5404" actId="1076"/>
          <ac:picMkLst>
            <pc:docMk/>
            <pc:sldMk cId="1753881738" sldId="2147473097"/>
            <ac:picMk id="16" creationId="{E8ECC63C-F020-2830-A27B-58BBBCDF8B5D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17" creationId="{75413551-F8E2-84B0-04C9-5EFABD659AAB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19" creationId="{C0FF067C-FE73-69A1-F0C2-11B209FB3F5A}"/>
          </ac:picMkLst>
        </pc:picChg>
        <pc:picChg chg="add del mod">
          <ac:chgData name="Fatma Alsagaf" userId="ef587b5e-378a-4bb3-aa9f-3c15b98138a4" providerId="ADAL" clId="{3F5618C8-8D5E-4E2B-8F0D-3AAFE622726E}" dt="2024-06-21T12:38:13.432" v="5401" actId="21"/>
          <ac:picMkLst>
            <pc:docMk/>
            <pc:sldMk cId="1753881738" sldId="2147473097"/>
            <ac:picMk id="20" creationId="{C1A654BF-6E36-5147-F27F-E9F9050AEAD3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21" creationId="{10BDDBCF-E534-45CD-1FF9-1D210E11486C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23" creationId="{4EE5AFDC-27B2-DF27-1759-7BB43E76C6DC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25" creationId="{6BF7B732-71E0-9D5C-9AEC-38EC5E9A2A95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27" creationId="{B6896347-7D2B-C4F0-FA5A-54C08B76DCE8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29" creationId="{CA5FD37A-CB7C-E6BB-9807-3D9CE4BB657A}"/>
          </ac:picMkLst>
        </pc:picChg>
        <pc:picChg chg="del">
          <ac:chgData name="Fatma Alsagaf" userId="ef587b5e-378a-4bb3-aa9f-3c15b98138a4" providerId="ADAL" clId="{3F5618C8-8D5E-4E2B-8F0D-3AAFE622726E}" dt="2024-06-21T11:40:58.419" v="4545" actId="478"/>
          <ac:picMkLst>
            <pc:docMk/>
            <pc:sldMk cId="1753881738" sldId="2147473097"/>
            <ac:picMk id="31" creationId="{BE0902C9-26EA-0250-EC8A-1289BBC257DE}"/>
          </ac:picMkLst>
        </pc:picChg>
      </pc:sldChg>
      <pc:sldChg chg="addSp delSp modSp add mod ord">
        <pc:chgData name="Fatma Alsagaf" userId="ef587b5e-378a-4bb3-aa9f-3c15b98138a4" providerId="ADAL" clId="{3F5618C8-8D5E-4E2B-8F0D-3AAFE622726E}" dt="2024-07-02T10:31:16.071" v="10677" actId="1076"/>
        <pc:sldMkLst>
          <pc:docMk/>
          <pc:sldMk cId="1266393272" sldId="2147473098"/>
        </pc:sldMkLst>
        <pc:spChg chg="add mod">
          <ac:chgData name="Fatma Alsagaf" userId="ef587b5e-378a-4bb3-aa9f-3c15b98138a4" providerId="ADAL" clId="{3F5618C8-8D5E-4E2B-8F0D-3AAFE622726E}" dt="2024-06-21T12:11:00.873" v="5094" actId="20577"/>
          <ac:spMkLst>
            <pc:docMk/>
            <pc:sldMk cId="1266393272" sldId="2147473098"/>
            <ac:spMk id="4" creationId="{28FCE1B5-0CCE-CF7B-79E7-868C956FA934}"/>
          </ac:spMkLst>
        </pc:spChg>
        <pc:spChg chg="add mod">
          <ac:chgData name="Fatma Alsagaf" userId="ef587b5e-378a-4bb3-aa9f-3c15b98138a4" providerId="ADAL" clId="{3F5618C8-8D5E-4E2B-8F0D-3AAFE622726E}" dt="2024-06-21T12:18:09.473" v="5274" actId="6549"/>
          <ac:spMkLst>
            <pc:docMk/>
            <pc:sldMk cId="1266393272" sldId="2147473098"/>
            <ac:spMk id="6" creationId="{922895AE-99D5-3F53-CC05-9DE3DBD4A3D4}"/>
          </ac:spMkLst>
        </pc:spChg>
        <pc:spChg chg="add del mod">
          <ac:chgData name="Fatma Alsagaf" userId="ef587b5e-378a-4bb3-aa9f-3c15b98138a4" providerId="ADAL" clId="{3F5618C8-8D5E-4E2B-8F0D-3AAFE622726E}" dt="2024-06-24T08:04:38.256" v="8851" actId="478"/>
          <ac:spMkLst>
            <pc:docMk/>
            <pc:sldMk cId="1266393272" sldId="2147473098"/>
            <ac:spMk id="14" creationId="{53F1A2EE-0C30-A195-919A-5D0F12174B1E}"/>
          </ac:spMkLst>
        </pc:spChg>
        <pc:spChg chg="add mod">
          <ac:chgData name="Fatma Alsagaf" userId="ef587b5e-378a-4bb3-aa9f-3c15b98138a4" providerId="ADAL" clId="{3F5618C8-8D5E-4E2B-8F0D-3AAFE622726E}" dt="2024-06-24T08:04:38.515" v="8852"/>
          <ac:spMkLst>
            <pc:docMk/>
            <pc:sldMk cId="1266393272" sldId="2147473098"/>
            <ac:spMk id="26" creationId="{D3D969B2-9492-7BFA-A42A-5BFEC1417B87}"/>
          </ac:spMkLst>
        </pc:spChg>
        <pc:picChg chg="add del mod">
          <ac:chgData name="Fatma Alsagaf" userId="ef587b5e-378a-4bb3-aa9f-3c15b98138a4" providerId="ADAL" clId="{3F5618C8-8D5E-4E2B-8F0D-3AAFE622726E}" dt="2024-06-21T12:15:41.437" v="5227" actId="478"/>
          <ac:picMkLst>
            <pc:docMk/>
            <pc:sldMk cId="1266393272" sldId="2147473098"/>
            <ac:picMk id="2" creationId="{8C74AF02-C1BE-171C-849B-76E0BDB9E1BE}"/>
          </ac:picMkLst>
        </pc:picChg>
        <pc:picChg chg="del">
          <ac:chgData name="Fatma Alsagaf" userId="ef587b5e-378a-4bb3-aa9f-3c15b98138a4" providerId="ADAL" clId="{3F5618C8-8D5E-4E2B-8F0D-3AAFE622726E}" dt="2024-06-21T12:10:06.099" v="5041" actId="478"/>
          <ac:picMkLst>
            <pc:docMk/>
            <pc:sldMk cId="1266393272" sldId="2147473098"/>
            <ac:picMk id="3" creationId="{224E3B28-9DBC-3A7F-2255-825D6176C0A9}"/>
          </ac:picMkLst>
        </pc:picChg>
        <pc:picChg chg="add del mod">
          <ac:chgData name="Fatma Alsagaf" userId="ef587b5e-378a-4bb3-aa9f-3c15b98138a4" providerId="ADAL" clId="{3F5618C8-8D5E-4E2B-8F0D-3AAFE622726E}" dt="2024-06-24T06:53:57.372" v="8601" actId="21"/>
          <ac:picMkLst>
            <pc:docMk/>
            <pc:sldMk cId="1266393272" sldId="2147473098"/>
            <ac:picMk id="3" creationId="{C1248F77-7CA1-77FA-289E-DD6751EB6F13}"/>
          </ac:picMkLst>
        </pc:picChg>
        <pc:picChg chg="del">
          <ac:chgData name="Fatma Alsagaf" userId="ef587b5e-378a-4bb3-aa9f-3c15b98138a4" providerId="ADAL" clId="{3F5618C8-8D5E-4E2B-8F0D-3AAFE622726E}" dt="2024-06-21T12:10:06.099" v="5041" actId="478"/>
          <ac:picMkLst>
            <pc:docMk/>
            <pc:sldMk cId="1266393272" sldId="2147473098"/>
            <ac:picMk id="5" creationId="{09DBA26B-89DF-16EC-E943-4E3AF62663EA}"/>
          </ac:picMkLst>
        </pc:picChg>
        <pc:picChg chg="add mod">
          <ac:chgData name="Fatma Alsagaf" userId="ef587b5e-378a-4bb3-aa9f-3c15b98138a4" providerId="ADAL" clId="{3F5618C8-8D5E-4E2B-8F0D-3AAFE622726E}" dt="2024-06-24T06:54:34.883" v="8614" actId="208"/>
          <ac:picMkLst>
            <pc:docMk/>
            <pc:sldMk cId="1266393272" sldId="2147473098"/>
            <ac:picMk id="7" creationId="{FDA79F6B-C357-0CF1-148B-16291E65C6DD}"/>
          </ac:picMkLst>
        </pc:picChg>
        <pc:picChg chg="add mod">
          <ac:chgData name="Fatma Alsagaf" userId="ef587b5e-378a-4bb3-aa9f-3c15b98138a4" providerId="ADAL" clId="{3F5618C8-8D5E-4E2B-8F0D-3AAFE622726E}" dt="2024-06-24T06:54:34.883" v="8614" actId="208"/>
          <ac:picMkLst>
            <pc:docMk/>
            <pc:sldMk cId="1266393272" sldId="2147473098"/>
            <ac:picMk id="8" creationId="{2C182B26-494B-2BFC-AC03-6EC7599924A4}"/>
          </ac:picMkLst>
        </pc:picChg>
        <pc:picChg chg="add del mod">
          <ac:chgData name="Fatma Alsagaf" userId="ef587b5e-378a-4bb3-aa9f-3c15b98138a4" providerId="ADAL" clId="{3F5618C8-8D5E-4E2B-8F0D-3AAFE622726E}" dt="2024-06-21T12:18:34.867" v="5281" actId="478"/>
          <ac:picMkLst>
            <pc:docMk/>
            <pc:sldMk cId="1266393272" sldId="2147473098"/>
            <ac:picMk id="9" creationId="{1BE0A7D9-9C1C-5F56-31AC-E60249A79959}"/>
          </ac:picMkLst>
        </pc:picChg>
        <pc:picChg chg="add del mod">
          <ac:chgData name="Fatma Alsagaf" userId="ef587b5e-378a-4bb3-aa9f-3c15b98138a4" providerId="ADAL" clId="{3F5618C8-8D5E-4E2B-8F0D-3AAFE622726E}" dt="2024-06-24T06:54:02.407" v="8604" actId="21"/>
          <ac:picMkLst>
            <pc:docMk/>
            <pc:sldMk cId="1266393272" sldId="2147473098"/>
            <ac:picMk id="9" creationId="{D27120E0-72DB-652E-5E10-9CB2C8B2EA9A}"/>
          </ac:picMkLst>
        </pc:picChg>
        <pc:picChg chg="add mod">
          <ac:chgData name="Fatma Alsagaf" userId="ef587b5e-378a-4bb3-aa9f-3c15b98138a4" providerId="ADAL" clId="{3F5618C8-8D5E-4E2B-8F0D-3AAFE622726E}" dt="2024-06-24T06:54:34.883" v="8614" actId="208"/>
          <ac:picMkLst>
            <pc:docMk/>
            <pc:sldMk cId="1266393272" sldId="2147473098"/>
            <ac:picMk id="10" creationId="{6FCF207E-31B8-F7F9-BF8D-0C5C8917C1B2}"/>
          </ac:picMkLst>
        </pc:picChg>
        <pc:picChg chg="add del mod">
          <ac:chgData name="Fatma Alsagaf" userId="ef587b5e-378a-4bb3-aa9f-3c15b98138a4" providerId="ADAL" clId="{3F5618C8-8D5E-4E2B-8F0D-3AAFE622726E}" dt="2024-06-21T12:18:20.250" v="5279" actId="478"/>
          <ac:picMkLst>
            <pc:docMk/>
            <pc:sldMk cId="1266393272" sldId="2147473098"/>
            <ac:picMk id="11" creationId="{2EE07F5A-4F13-4339-1904-1B80AF53BF32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11" creationId="{E4AAFE89-331B-B0BE-B298-C329DBAF6121}"/>
          </ac:picMkLst>
        </pc:picChg>
        <pc:picChg chg="del">
          <ac:chgData name="Fatma Alsagaf" userId="ef587b5e-378a-4bb3-aa9f-3c15b98138a4" providerId="ADAL" clId="{3F5618C8-8D5E-4E2B-8F0D-3AAFE622726E}" dt="2024-06-21T12:10:06.099" v="5041" actId="478"/>
          <ac:picMkLst>
            <pc:docMk/>
            <pc:sldMk cId="1266393272" sldId="2147473098"/>
            <ac:picMk id="12" creationId="{0B3D82F7-B21B-0376-7A86-8764C177EBD7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12" creationId="{43CF426B-E0CA-5DA0-C8CD-3B1B2902C016}"/>
          </ac:picMkLst>
        </pc:picChg>
        <pc:picChg chg="add mod">
          <ac:chgData name="Fatma Alsagaf" userId="ef587b5e-378a-4bb3-aa9f-3c15b98138a4" providerId="ADAL" clId="{3F5618C8-8D5E-4E2B-8F0D-3AAFE622726E}" dt="2024-06-24T06:54:34.883" v="8614" actId="208"/>
          <ac:picMkLst>
            <pc:docMk/>
            <pc:sldMk cId="1266393272" sldId="2147473098"/>
            <ac:picMk id="13" creationId="{ACA55C2A-A5D4-87E6-73BC-AD9360CDFD11}"/>
          </ac:picMkLst>
        </pc:picChg>
        <pc:picChg chg="add mod">
          <ac:chgData name="Fatma Alsagaf" userId="ef587b5e-378a-4bb3-aa9f-3c15b98138a4" providerId="ADAL" clId="{3F5618C8-8D5E-4E2B-8F0D-3AAFE622726E}" dt="2024-06-24T06:54:34.883" v="8614" actId="208"/>
          <ac:picMkLst>
            <pc:docMk/>
            <pc:sldMk cId="1266393272" sldId="2147473098"/>
            <ac:picMk id="15" creationId="{CDA1812B-B084-646B-42D8-35ACC8034188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16" creationId="{1A95C269-8930-0773-904B-76B260B02887}"/>
          </ac:picMkLst>
        </pc:picChg>
        <pc:picChg chg="del">
          <ac:chgData name="Fatma Alsagaf" userId="ef587b5e-378a-4bb3-aa9f-3c15b98138a4" providerId="ADAL" clId="{3F5618C8-8D5E-4E2B-8F0D-3AAFE622726E}" dt="2024-06-21T12:10:06.099" v="5041" actId="478"/>
          <ac:picMkLst>
            <pc:docMk/>
            <pc:sldMk cId="1266393272" sldId="2147473098"/>
            <ac:picMk id="16" creationId="{E8ECC63C-F020-2830-A27B-58BBBCDF8B5D}"/>
          </ac:picMkLst>
        </pc:picChg>
        <pc:picChg chg="add mod">
          <ac:chgData name="Fatma Alsagaf" userId="ef587b5e-378a-4bb3-aa9f-3c15b98138a4" providerId="ADAL" clId="{3F5618C8-8D5E-4E2B-8F0D-3AAFE622726E}" dt="2024-07-02T07:59:20.906" v="10620" actId="1076"/>
          <ac:picMkLst>
            <pc:docMk/>
            <pc:sldMk cId="1266393272" sldId="2147473098"/>
            <ac:picMk id="17" creationId="{387CF45A-CBCB-4949-43E4-D74EE259947B}"/>
          </ac:picMkLst>
        </pc:picChg>
        <pc:picChg chg="add mod">
          <ac:chgData name="Fatma Alsagaf" userId="ef587b5e-378a-4bb3-aa9f-3c15b98138a4" providerId="ADAL" clId="{3F5618C8-8D5E-4E2B-8F0D-3AAFE622726E}" dt="2024-06-24T06:54:34.883" v="8614" actId="208"/>
          <ac:picMkLst>
            <pc:docMk/>
            <pc:sldMk cId="1266393272" sldId="2147473098"/>
            <ac:picMk id="18" creationId="{097AF50B-5987-5606-5640-F3AE8DFFA176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19" creationId="{26E365E4-9F17-4CD0-C209-8B53D243B933}"/>
          </ac:picMkLst>
        </pc:picChg>
        <pc:picChg chg="del">
          <ac:chgData name="Fatma Alsagaf" userId="ef587b5e-378a-4bb3-aa9f-3c15b98138a4" providerId="ADAL" clId="{3F5618C8-8D5E-4E2B-8F0D-3AAFE622726E}" dt="2024-06-21T12:10:06.099" v="5041" actId="478"/>
          <ac:picMkLst>
            <pc:docMk/>
            <pc:sldMk cId="1266393272" sldId="2147473098"/>
            <ac:picMk id="20" creationId="{C1A654BF-6E36-5147-F27F-E9F9050AEAD3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20" creationId="{C64C7666-BF59-DF53-06DC-71E6A2E236F3}"/>
          </ac:picMkLst>
        </pc:picChg>
        <pc:picChg chg="add mod">
          <ac:chgData name="Fatma Alsagaf" userId="ef587b5e-378a-4bb3-aa9f-3c15b98138a4" providerId="ADAL" clId="{3F5618C8-8D5E-4E2B-8F0D-3AAFE622726E}" dt="2024-07-02T10:31:16.071" v="10677" actId="1076"/>
          <ac:picMkLst>
            <pc:docMk/>
            <pc:sldMk cId="1266393272" sldId="2147473098"/>
            <ac:picMk id="21" creationId="{09866C79-6DD7-A26F-79BE-51FFA77A405A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22" creationId="{F0947905-216A-30F8-F0CD-0AA7D0C55272}"/>
          </ac:picMkLst>
        </pc:picChg>
        <pc:picChg chg="add del mod">
          <ac:chgData name="Fatma Alsagaf" userId="ef587b5e-378a-4bb3-aa9f-3c15b98138a4" providerId="ADAL" clId="{3F5618C8-8D5E-4E2B-8F0D-3AAFE622726E}" dt="2024-07-02T07:45:51.383" v="10612" actId="21"/>
          <ac:picMkLst>
            <pc:docMk/>
            <pc:sldMk cId="1266393272" sldId="2147473098"/>
            <ac:picMk id="23" creationId="{B3E3B930-B9A5-B5DF-D659-21B10DC99239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24" creationId="{4F7EF89E-77B9-EC6C-DBC6-1C61E251342A}"/>
          </ac:picMkLst>
        </pc:picChg>
        <pc:picChg chg="add mod">
          <ac:chgData name="Fatma Alsagaf" userId="ef587b5e-378a-4bb3-aa9f-3c15b98138a4" providerId="ADAL" clId="{3F5618C8-8D5E-4E2B-8F0D-3AAFE622726E}" dt="2024-06-24T06:54:33.403" v="8613" actId="571"/>
          <ac:picMkLst>
            <pc:docMk/>
            <pc:sldMk cId="1266393272" sldId="2147473098"/>
            <ac:picMk id="25" creationId="{2E269E7E-64E0-4FB8-A4DF-6EEE0A46B1A2}"/>
          </ac:picMkLst>
        </pc:picChg>
      </pc:sldChg>
      <pc:sldChg chg="addSp delSp modSp add del mod">
        <pc:chgData name="Fatma Alsagaf" userId="ef587b5e-378a-4bb3-aa9f-3c15b98138a4" providerId="ADAL" clId="{3F5618C8-8D5E-4E2B-8F0D-3AAFE622726E}" dt="2024-06-24T06:51:41.364" v="8588" actId="1076"/>
        <pc:sldMkLst>
          <pc:docMk/>
          <pc:sldMk cId="927568409" sldId="2147473099"/>
        </pc:sldMkLst>
        <pc:spChg chg="add mod">
          <ac:chgData name="Fatma Alsagaf" userId="ef587b5e-378a-4bb3-aa9f-3c15b98138a4" providerId="ADAL" clId="{3F5618C8-8D5E-4E2B-8F0D-3AAFE622726E}" dt="2024-06-21T12:11:07.863" v="5095"/>
          <ac:spMkLst>
            <pc:docMk/>
            <pc:sldMk cId="927568409" sldId="2147473099"/>
            <ac:spMk id="3" creationId="{6AE708D0-25B3-A4D8-4666-B19D3E09AAB1}"/>
          </ac:spMkLst>
        </pc:spChg>
        <pc:spChg chg="add mod">
          <ac:chgData name="Fatma Alsagaf" userId="ef587b5e-378a-4bb3-aa9f-3c15b98138a4" providerId="ADAL" clId="{3F5618C8-8D5E-4E2B-8F0D-3AAFE622726E}" dt="2024-06-21T12:13:29.130" v="5224" actId="20577"/>
          <ac:spMkLst>
            <pc:docMk/>
            <pc:sldMk cId="927568409" sldId="2147473099"/>
            <ac:spMk id="4" creationId="{49E5FB3A-AFB8-6881-86EF-31F60A878F94}"/>
          </ac:spMkLst>
        </pc:spChg>
        <pc:spChg chg="add del mod">
          <ac:chgData name="Fatma Alsagaf" userId="ef587b5e-378a-4bb3-aa9f-3c15b98138a4" providerId="ADAL" clId="{3F5618C8-8D5E-4E2B-8F0D-3AAFE622726E}" dt="2024-06-24T06:46:17.559" v="8315" actId="478"/>
          <ac:spMkLst>
            <pc:docMk/>
            <pc:sldMk cId="927568409" sldId="2147473099"/>
            <ac:spMk id="8" creationId="{AA1A50D7-86EE-445A-09C1-E04CF1079D43}"/>
          </ac:spMkLst>
        </pc:spChg>
        <pc:spChg chg="add mod">
          <ac:chgData name="Fatma Alsagaf" userId="ef587b5e-378a-4bb3-aa9f-3c15b98138a4" providerId="ADAL" clId="{3F5618C8-8D5E-4E2B-8F0D-3AAFE622726E}" dt="2024-06-24T06:46:18.566" v="8316"/>
          <ac:spMkLst>
            <pc:docMk/>
            <pc:sldMk cId="927568409" sldId="2147473099"/>
            <ac:spMk id="10" creationId="{B27848FC-8A34-B011-A7F1-43DDCE5A76E1}"/>
          </ac:spMkLst>
        </pc:spChg>
        <pc:picChg chg="mod">
          <ac:chgData name="Fatma Alsagaf" userId="ef587b5e-378a-4bb3-aa9f-3c15b98138a4" providerId="ADAL" clId="{3F5618C8-8D5E-4E2B-8F0D-3AAFE622726E}" dt="2024-06-24T06:45:27.352" v="8292" actId="208"/>
          <ac:picMkLst>
            <pc:docMk/>
            <pc:sldMk cId="927568409" sldId="2147473099"/>
            <ac:picMk id="2" creationId="{8C74AF02-C1BE-171C-849B-76E0BDB9E1BE}"/>
          </ac:picMkLst>
        </pc:picChg>
        <pc:picChg chg="add del mod">
          <ac:chgData name="Fatma Alsagaf" userId="ef587b5e-378a-4bb3-aa9f-3c15b98138a4" providerId="ADAL" clId="{3F5618C8-8D5E-4E2B-8F0D-3AAFE622726E}" dt="2024-06-21T12:32:54.392" v="5358" actId="478"/>
          <ac:picMkLst>
            <pc:docMk/>
            <pc:sldMk cId="927568409" sldId="2147473099"/>
            <ac:picMk id="5" creationId="{0305F1F8-C784-9EEF-5807-49D1B67F86AD}"/>
          </ac:picMkLst>
        </pc:picChg>
        <pc:picChg chg="add del mod">
          <ac:chgData name="Fatma Alsagaf" userId="ef587b5e-378a-4bb3-aa9f-3c15b98138a4" providerId="ADAL" clId="{3F5618C8-8D5E-4E2B-8F0D-3AAFE622726E}" dt="2024-06-21T12:17:12.645" v="5262" actId="21"/>
          <ac:picMkLst>
            <pc:docMk/>
            <pc:sldMk cId="927568409" sldId="2147473099"/>
            <ac:picMk id="6" creationId="{563437EC-7089-005F-174A-2F2BACF89D0C}"/>
          </ac:picMkLst>
        </pc:picChg>
        <pc:picChg chg="add mod">
          <ac:chgData name="Fatma Alsagaf" userId="ef587b5e-378a-4bb3-aa9f-3c15b98138a4" providerId="ADAL" clId="{3F5618C8-8D5E-4E2B-8F0D-3AAFE622726E}" dt="2024-06-24T06:51:26.416" v="8583" actId="1076"/>
          <ac:picMkLst>
            <pc:docMk/>
            <pc:sldMk cId="927568409" sldId="2147473099"/>
            <ac:picMk id="6" creationId="{8BB263C4-78FB-8960-EF5E-F4F8F59AE70D}"/>
          </ac:picMkLst>
        </pc:picChg>
        <pc:picChg chg="add mod">
          <ac:chgData name="Fatma Alsagaf" userId="ef587b5e-378a-4bb3-aa9f-3c15b98138a4" providerId="ADAL" clId="{3F5618C8-8D5E-4E2B-8F0D-3AAFE622726E}" dt="2024-06-24T06:51:41.364" v="8588" actId="1076"/>
          <ac:picMkLst>
            <pc:docMk/>
            <pc:sldMk cId="927568409" sldId="2147473099"/>
            <ac:picMk id="7" creationId="{D74F1B53-6543-D742-85B1-723759C3B733}"/>
          </ac:picMkLst>
        </pc:picChg>
        <pc:picChg chg="add mod">
          <ac:chgData name="Fatma Alsagaf" userId="ef587b5e-378a-4bb3-aa9f-3c15b98138a4" providerId="ADAL" clId="{3F5618C8-8D5E-4E2B-8F0D-3AAFE622726E}" dt="2024-06-24T06:51:40.264" v="8587" actId="1076"/>
          <ac:picMkLst>
            <pc:docMk/>
            <pc:sldMk cId="927568409" sldId="2147473099"/>
            <ac:picMk id="9" creationId="{9AAA0E56-7350-AAC6-1113-73E1AAD09938}"/>
          </ac:picMkLst>
        </pc:picChg>
        <pc:picChg chg="add del mod">
          <ac:chgData name="Fatma Alsagaf" userId="ef587b5e-378a-4bb3-aa9f-3c15b98138a4" providerId="ADAL" clId="{3F5618C8-8D5E-4E2B-8F0D-3AAFE622726E}" dt="2024-06-21T12:44:39.703" v="5445" actId="21"/>
          <ac:picMkLst>
            <pc:docMk/>
            <pc:sldMk cId="927568409" sldId="2147473099"/>
            <ac:picMk id="11" creationId="{FACE868E-EA5D-EA71-0612-FB250D6675B1}"/>
          </ac:picMkLst>
        </pc:picChg>
        <pc:picChg chg="add mod">
          <ac:chgData name="Fatma Alsagaf" userId="ef587b5e-378a-4bb3-aa9f-3c15b98138a4" providerId="ADAL" clId="{3F5618C8-8D5E-4E2B-8F0D-3AAFE622726E}" dt="2024-06-24T06:51:22.130" v="8582" actId="1076"/>
          <ac:picMkLst>
            <pc:docMk/>
            <pc:sldMk cId="927568409" sldId="2147473099"/>
            <ac:picMk id="13" creationId="{3E46C90D-8567-F34D-A954-5CB26BE7A116}"/>
          </ac:picMkLst>
        </pc:picChg>
        <pc:picChg chg="add del mod">
          <ac:chgData name="Fatma Alsagaf" userId="ef587b5e-378a-4bb3-aa9f-3c15b98138a4" providerId="ADAL" clId="{3F5618C8-8D5E-4E2B-8F0D-3AAFE622726E}" dt="2024-06-21T13:10:39.784" v="6201" actId="21"/>
          <ac:picMkLst>
            <pc:docMk/>
            <pc:sldMk cId="927568409" sldId="2147473099"/>
            <ac:picMk id="15" creationId="{E9EB575B-4E61-EF88-8CEC-27AAC86ECF23}"/>
          </ac:picMkLst>
        </pc:picChg>
      </pc:sldChg>
      <pc:sldChg chg="addSp delSp modSp add mod">
        <pc:chgData name="Fatma Alsagaf" userId="ef587b5e-378a-4bb3-aa9f-3c15b98138a4" providerId="ADAL" clId="{3F5618C8-8D5E-4E2B-8F0D-3AAFE622726E}" dt="2024-07-02T07:46:12.676" v="10619" actId="14100"/>
        <pc:sldMkLst>
          <pc:docMk/>
          <pc:sldMk cId="3388734306" sldId="2147473100"/>
        </pc:sldMkLst>
        <pc:spChg chg="add mod">
          <ac:chgData name="Fatma Alsagaf" userId="ef587b5e-378a-4bb3-aa9f-3c15b98138a4" providerId="ADAL" clId="{3F5618C8-8D5E-4E2B-8F0D-3AAFE622726E}" dt="2024-06-21T12:11:09.358" v="5096"/>
          <ac:spMkLst>
            <pc:docMk/>
            <pc:sldMk cId="3388734306" sldId="2147473100"/>
            <ac:spMk id="3" creationId="{AFE17B44-866F-ACCE-AB9D-1D9C5A860D82}"/>
          </ac:spMkLst>
        </pc:spChg>
        <pc:spChg chg="add mod">
          <ac:chgData name="Fatma Alsagaf" userId="ef587b5e-378a-4bb3-aa9f-3c15b98138a4" providerId="ADAL" clId="{3F5618C8-8D5E-4E2B-8F0D-3AAFE622726E}" dt="2024-06-24T09:14:23.436" v="9478" actId="20577"/>
          <ac:spMkLst>
            <pc:docMk/>
            <pc:sldMk cId="3388734306" sldId="2147473100"/>
            <ac:spMk id="4" creationId="{C8D37876-7FA7-6480-A1CB-359B99436A3A}"/>
          </ac:spMkLst>
        </pc:spChg>
        <pc:spChg chg="add del mod">
          <ac:chgData name="Fatma Alsagaf" userId="ef587b5e-378a-4bb3-aa9f-3c15b98138a4" providerId="ADAL" clId="{3F5618C8-8D5E-4E2B-8F0D-3AAFE622726E}" dt="2024-06-24T06:46:22.653" v="8317" actId="478"/>
          <ac:spMkLst>
            <pc:docMk/>
            <pc:sldMk cId="3388734306" sldId="2147473100"/>
            <ac:spMk id="7" creationId="{54292C9F-AF58-7C4F-2706-9CC765BD26A8}"/>
          </ac:spMkLst>
        </pc:spChg>
        <pc:spChg chg="add del mod">
          <ac:chgData name="Fatma Alsagaf" userId="ef587b5e-378a-4bb3-aa9f-3c15b98138a4" providerId="ADAL" clId="{3F5618C8-8D5E-4E2B-8F0D-3AAFE622726E}" dt="2024-06-24T06:46:26.731" v="8319" actId="478"/>
          <ac:spMkLst>
            <pc:docMk/>
            <pc:sldMk cId="3388734306" sldId="2147473100"/>
            <ac:spMk id="9" creationId="{CE79EAC9-787C-8B2C-FB17-24136424F10C}"/>
          </ac:spMkLst>
        </pc:spChg>
        <pc:spChg chg="add mod">
          <ac:chgData name="Fatma Alsagaf" userId="ef587b5e-378a-4bb3-aa9f-3c15b98138a4" providerId="ADAL" clId="{3F5618C8-8D5E-4E2B-8F0D-3AAFE622726E}" dt="2024-06-24T06:46:28.064" v="8320"/>
          <ac:spMkLst>
            <pc:docMk/>
            <pc:sldMk cId="3388734306" sldId="2147473100"/>
            <ac:spMk id="10" creationId="{7FDB7B4B-144C-E022-8DB5-83527F0C3CCB}"/>
          </ac:spMkLst>
        </pc:spChg>
        <pc:picChg chg="del mod">
          <ac:chgData name="Fatma Alsagaf" userId="ef587b5e-378a-4bb3-aa9f-3c15b98138a4" providerId="ADAL" clId="{3F5618C8-8D5E-4E2B-8F0D-3AAFE622726E}" dt="2024-06-21T12:12:55.378" v="5170" actId="478"/>
          <ac:picMkLst>
            <pc:docMk/>
            <pc:sldMk cId="3388734306" sldId="2147473100"/>
            <ac:picMk id="2" creationId="{8C74AF02-C1BE-171C-849B-76E0BDB9E1BE}"/>
          </ac:picMkLst>
        </pc:picChg>
        <pc:picChg chg="add mod">
          <ac:chgData name="Fatma Alsagaf" userId="ef587b5e-378a-4bb3-aa9f-3c15b98138a4" providerId="ADAL" clId="{3F5618C8-8D5E-4E2B-8F0D-3AAFE622726E}" dt="2024-07-02T07:45:29.650" v="10606" actId="1076"/>
          <ac:picMkLst>
            <pc:docMk/>
            <pc:sldMk cId="3388734306" sldId="2147473100"/>
            <ac:picMk id="2" creationId="{B225F632-B2E0-FDDD-5D06-A2FFE126FD98}"/>
          </ac:picMkLst>
        </pc:picChg>
        <pc:picChg chg="add mod">
          <ac:chgData name="Fatma Alsagaf" userId="ef587b5e-378a-4bb3-aa9f-3c15b98138a4" providerId="ADAL" clId="{3F5618C8-8D5E-4E2B-8F0D-3AAFE622726E}" dt="2024-06-24T06:52:18.488" v="8590" actId="208"/>
          <ac:picMkLst>
            <pc:docMk/>
            <pc:sldMk cId="3388734306" sldId="2147473100"/>
            <ac:picMk id="5" creationId="{F7E698E5-5E6D-C4B1-EDE3-30D0665CD17E}"/>
          </ac:picMkLst>
        </pc:picChg>
        <pc:picChg chg="add mod">
          <ac:chgData name="Fatma Alsagaf" userId="ef587b5e-378a-4bb3-aa9f-3c15b98138a4" providerId="ADAL" clId="{3F5618C8-8D5E-4E2B-8F0D-3AAFE622726E}" dt="2024-06-24T09:13:55.480" v="9468" actId="1076"/>
          <ac:picMkLst>
            <pc:docMk/>
            <pc:sldMk cId="3388734306" sldId="2147473100"/>
            <ac:picMk id="6" creationId="{93F0D29F-32BA-CAB6-F229-97773C79EE47}"/>
          </ac:picMkLst>
        </pc:picChg>
        <pc:picChg chg="add mod">
          <ac:chgData name="Fatma Alsagaf" userId="ef587b5e-378a-4bb3-aa9f-3c15b98138a4" providerId="ADAL" clId="{3F5618C8-8D5E-4E2B-8F0D-3AAFE622726E}" dt="2024-07-02T07:46:12.676" v="10619" actId="14100"/>
          <ac:picMkLst>
            <pc:docMk/>
            <pc:sldMk cId="3388734306" sldId="2147473100"/>
            <ac:picMk id="7" creationId="{547D53D0-7F95-5714-2B3F-1CA89714394A}"/>
          </ac:picMkLst>
        </pc:picChg>
        <pc:picChg chg="add mod">
          <ac:chgData name="Fatma Alsagaf" userId="ef587b5e-378a-4bb3-aa9f-3c15b98138a4" providerId="ADAL" clId="{3F5618C8-8D5E-4E2B-8F0D-3AAFE622726E}" dt="2024-06-24T09:12:52.283" v="9452" actId="14100"/>
          <ac:picMkLst>
            <pc:docMk/>
            <pc:sldMk cId="3388734306" sldId="2147473100"/>
            <ac:picMk id="8" creationId="{E4605DE4-6666-B1F6-ED79-930934643961}"/>
          </ac:picMkLst>
        </pc:picChg>
        <pc:picChg chg="add mod">
          <ac:chgData name="Fatma Alsagaf" userId="ef587b5e-378a-4bb3-aa9f-3c15b98138a4" providerId="ADAL" clId="{3F5618C8-8D5E-4E2B-8F0D-3AAFE622726E}" dt="2024-07-02T07:46:07.720" v="10618" actId="1076"/>
          <ac:picMkLst>
            <pc:docMk/>
            <pc:sldMk cId="3388734306" sldId="2147473100"/>
            <ac:picMk id="11" creationId="{2AACB65C-E012-66E8-B46E-0B1149082D31}"/>
          </ac:picMkLst>
        </pc:picChg>
        <pc:picChg chg="add mod">
          <ac:chgData name="Fatma Alsagaf" userId="ef587b5e-378a-4bb3-aa9f-3c15b98138a4" providerId="ADAL" clId="{3F5618C8-8D5E-4E2B-8F0D-3AAFE622726E}" dt="2024-07-02T07:46:00.259" v="10616" actId="1076"/>
          <ac:picMkLst>
            <pc:docMk/>
            <pc:sldMk cId="3388734306" sldId="2147473100"/>
            <ac:picMk id="12" creationId="{6679731D-D486-9942-BB55-37EAC8C35E2D}"/>
          </ac:picMkLst>
        </pc:picChg>
        <pc:picChg chg="add mod">
          <ac:chgData name="Fatma Alsagaf" userId="ef587b5e-378a-4bb3-aa9f-3c15b98138a4" providerId="ADAL" clId="{3F5618C8-8D5E-4E2B-8F0D-3AAFE622726E}" dt="2024-06-24T09:13:48.442" v="9467" actId="1076"/>
          <ac:picMkLst>
            <pc:docMk/>
            <pc:sldMk cId="3388734306" sldId="2147473100"/>
            <ac:picMk id="13" creationId="{ABBCCFF4-E669-A8BF-09BC-1D5B801CE932}"/>
          </ac:picMkLst>
        </pc:picChg>
      </pc:sldChg>
      <pc:sldChg chg="addSp delSp modSp add mod">
        <pc:chgData name="Fatma Alsagaf" userId="ef587b5e-378a-4bb3-aa9f-3c15b98138a4" providerId="ADAL" clId="{3F5618C8-8D5E-4E2B-8F0D-3AAFE622726E}" dt="2024-07-02T07:32:36.250" v="10597" actId="6549"/>
        <pc:sldMkLst>
          <pc:docMk/>
          <pc:sldMk cId="689723503" sldId="2147473101"/>
        </pc:sldMkLst>
        <pc:spChg chg="add mod">
          <ac:chgData name="Fatma Alsagaf" userId="ef587b5e-378a-4bb3-aa9f-3c15b98138a4" providerId="ADAL" clId="{3F5618C8-8D5E-4E2B-8F0D-3AAFE622726E}" dt="2024-06-24T06:46:09.210" v="8313" actId="1076"/>
          <ac:spMkLst>
            <pc:docMk/>
            <pc:sldMk cId="689723503" sldId="2147473101"/>
            <ac:spMk id="5" creationId="{F284DA7C-FC5D-248C-35DC-CD625ACD093E}"/>
          </ac:spMkLst>
        </pc:spChg>
        <pc:spChg chg="mod">
          <ac:chgData name="Fatma Alsagaf" userId="ef587b5e-378a-4bb3-aa9f-3c15b98138a4" providerId="ADAL" clId="{3F5618C8-8D5E-4E2B-8F0D-3AAFE622726E}" dt="2024-07-02T07:32:36.250" v="10597" actId="6549"/>
          <ac:spMkLst>
            <pc:docMk/>
            <pc:sldMk cId="689723503" sldId="2147473101"/>
            <ac:spMk id="6" creationId="{922895AE-99D5-3F53-CC05-9DE3DBD4A3D4}"/>
          </ac:spMkLst>
        </pc:spChg>
        <pc:picChg chg="add del mod">
          <ac:chgData name="Fatma Alsagaf" userId="ef587b5e-378a-4bb3-aa9f-3c15b98138a4" providerId="ADAL" clId="{3F5618C8-8D5E-4E2B-8F0D-3AAFE622726E}" dt="2024-06-21T12:20:17.783" v="5293" actId="478"/>
          <ac:picMkLst>
            <pc:docMk/>
            <pc:sldMk cId="689723503" sldId="2147473101"/>
            <ac:picMk id="2" creationId="{1C5B6E60-5FC2-FCFA-3ED0-247E72DAD1E9}"/>
          </ac:picMkLst>
        </pc:picChg>
        <pc:picChg chg="add del mod">
          <ac:chgData name="Fatma Alsagaf" userId="ef587b5e-378a-4bb3-aa9f-3c15b98138a4" providerId="ADAL" clId="{3F5618C8-8D5E-4E2B-8F0D-3AAFE622726E}" dt="2024-06-24T06:40:26.049" v="8262" actId="21"/>
          <ac:picMkLst>
            <pc:docMk/>
            <pc:sldMk cId="689723503" sldId="2147473101"/>
            <ac:picMk id="3" creationId="{F7EFDBC1-39B3-A5F0-3F7E-14FF307EF638}"/>
          </ac:picMkLst>
        </pc:picChg>
        <pc:picChg chg="add mod">
          <ac:chgData name="Fatma Alsagaf" userId="ef587b5e-378a-4bb3-aa9f-3c15b98138a4" providerId="ADAL" clId="{3F5618C8-8D5E-4E2B-8F0D-3AAFE622726E}" dt="2024-06-24T06:53:25.948" v="8598" actId="1076"/>
          <ac:picMkLst>
            <pc:docMk/>
            <pc:sldMk cId="689723503" sldId="2147473101"/>
            <ac:picMk id="7" creationId="{75A5FF54-F72B-DACD-F3CE-D334534BA750}"/>
          </ac:picMkLst>
        </pc:picChg>
        <pc:picChg chg="del">
          <ac:chgData name="Fatma Alsagaf" userId="ef587b5e-378a-4bb3-aa9f-3c15b98138a4" providerId="ADAL" clId="{3F5618C8-8D5E-4E2B-8F0D-3AAFE622726E}" dt="2024-06-21T12:18:13.817" v="5275" actId="478"/>
          <ac:picMkLst>
            <pc:docMk/>
            <pc:sldMk cId="689723503" sldId="2147473101"/>
            <ac:picMk id="7" creationId="{FDA79F6B-C357-0CF1-148B-16291E65C6DD}"/>
          </ac:picMkLst>
        </pc:picChg>
        <pc:picChg chg="del">
          <ac:chgData name="Fatma Alsagaf" userId="ef587b5e-378a-4bb3-aa9f-3c15b98138a4" providerId="ADAL" clId="{3F5618C8-8D5E-4E2B-8F0D-3AAFE622726E}" dt="2024-06-21T12:18:32.223" v="5280" actId="478"/>
          <ac:picMkLst>
            <pc:docMk/>
            <pc:sldMk cId="689723503" sldId="2147473101"/>
            <ac:picMk id="8" creationId="{2C182B26-494B-2BFC-AC03-6EC7599924A4}"/>
          </ac:picMkLst>
        </pc:picChg>
        <pc:picChg chg="mod">
          <ac:chgData name="Fatma Alsagaf" userId="ef587b5e-378a-4bb3-aa9f-3c15b98138a4" providerId="ADAL" clId="{3F5618C8-8D5E-4E2B-8F0D-3AAFE622726E}" dt="2024-06-24T06:43:04.602" v="8289" actId="208"/>
          <ac:picMkLst>
            <pc:docMk/>
            <pc:sldMk cId="689723503" sldId="2147473101"/>
            <ac:picMk id="9" creationId="{1BE0A7D9-9C1C-5F56-31AC-E60249A79959}"/>
          </ac:picMkLst>
        </pc:picChg>
        <pc:picChg chg="add del mod">
          <ac:chgData name="Fatma Alsagaf" userId="ef587b5e-378a-4bb3-aa9f-3c15b98138a4" providerId="ADAL" clId="{3F5618C8-8D5E-4E2B-8F0D-3AAFE622726E}" dt="2024-06-24T05:12:30.584" v="6933" actId="21"/>
          <ac:picMkLst>
            <pc:docMk/>
            <pc:sldMk cId="689723503" sldId="2147473101"/>
            <ac:picMk id="10" creationId="{6939A15C-E31A-B3B3-6BF6-6673A12E1D28}"/>
          </ac:picMkLst>
        </pc:picChg>
        <pc:picChg chg="del">
          <ac:chgData name="Fatma Alsagaf" userId="ef587b5e-378a-4bb3-aa9f-3c15b98138a4" providerId="ADAL" clId="{3F5618C8-8D5E-4E2B-8F0D-3AAFE622726E}" dt="2024-06-21T12:18:46.382" v="5283" actId="478"/>
          <ac:picMkLst>
            <pc:docMk/>
            <pc:sldMk cId="689723503" sldId="2147473101"/>
            <ac:picMk id="10" creationId="{6FCF207E-31B8-F7F9-BF8D-0C5C8917C1B2}"/>
          </ac:picMkLst>
        </pc:picChg>
        <pc:picChg chg="mod">
          <ac:chgData name="Fatma Alsagaf" userId="ef587b5e-378a-4bb3-aa9f-3c15b98138a4" providerId="ADAL" clId="{3F5618C8-8D5E-4E2B-8F0D-3AAFE622726E}" dt="2024-06-24T06:43:04.602" v="8289" actId="208"/>
          <ac:picMkLst>
            <pc:docMk/>
            <pc:sldMk cId="689723503" sldId="2147473101"/>
            <ac:picMk id="11" creationId="{2EE07F5A-4F13-4339-1904-1B80AF53BF32}"/>
          </ac:picMkLst>
        </pc:picChg>
        <pc:picChg chg="add del mod">
          <ac:chgData name="Fatma Alsagaf" userId="ef587b5e-378a-4bb3-aa9f-3c15b98138a4" providerId="ADAL" clId="{3F5618C8-8D5E-4E2B-8F0D-3AAFE622726E}" dt="2024-06-24T06:38:54.735" v="8252" actId="21"/>
          <ac:picMkLst>
            <pc:docMk/>
            <pc:sldMk cId="689723503" sldId="2147473101"/>
            <ac:picMk id="12" creationId="{02B9CB9F-EB2B-4497-840C-7F31BD3D1480}"/>
          </ac:picMkLst>
        </pc:picChg>
        <pc:picChg chg="add mod">
          <ac:chgData name="Fatma Alsagaf" userId="ef587b5e-378a-4bb3-aa9f-3c15b98138a4" providerId="ADAL" clId="{3F5618C8-8D5E-4E2B-8F0D-3AAFE622726E}" dt="2024-06-24T06:43:04.602" v="8289" actId="208"/>
          <ac:picMkLst>
            <pc:docMk/>
            <pc:sldMk cId="689723503" sldId="2147473101"/>
            <ac:picMk id="13" creationId="{8B64C8F4-7EFF-AA8A-E77A-39C54D7F799F}"/>
          </ac:picMkLst>
        </pc:picChg>
        <pc:picChg chg="add del mod">
          <ac:chgData name="Fatma Alsagaf" userId="ef587b5e-378a-4bb3-aa9f-3c15b98138a4" providerId="ADAL" clId="{3F5618C8-8D5E-4E2B-8F0D-3AAFE622726E}" dt="2024-06-21T12:43:31.961" v="5438" actId="21"/>
          <ac:picMkLst>
            <pc:docMk/>
            <pc:sldMk cId="689723503" sldId="2147473101"/>
            <ac:picMk id="14" creationId="{947C4000-3FAB-7273-9F93-81210F63D881}"/>
          </ac:picMkLst>
        </pc:picChg>
        <pc:picChg chg="add mod">
          <ac:chgData name="Fatma Alsagaf" userId="ef587b5e-378a-4bb3-aa9f-3c15b98138a4" providerId="ADAL" clId="{3F5618C8-8D5E-4E2B-8F0D-3AAFE622726E}" dt="2024-06-24T06:43:04.602" v="8289" actId="208"/>
          <ac:picMkLst>
            <pc:docMk/>
            <pc:sldMk cId="689723503" sldId="2147473101"/>
            <ac:picMk id="15" creationId="{803E70C0-0DD3-9E3C-A33F-CE977DC1AF4A}"/>
          </ac:picMkLst>
        </pc:picChg>
        <pc:picChg chg="add mod">
          <ac:chgData name="Fatma Alsagaf" userId="ef587b5e-378a-4bb3-aa9f-3c15b98138a4" providerId="ADAL" clId="{3F5618C8-8D5E-4E2B-8F0D-3AAFE622726E}" dt="2024-06-24T06:42:25.611" v="8282" actId="1076"/>
          <ac:picMkLst>
            <pc:docMk/>
            <pc:sldMk cId="689723503" sldId="2147473101"/>
            <ac:picMk id="16" creationId="{96FAF56C-C14B-EE24-8B80-788F1E3AB114}"/>
          </ac:picMkLst>
        </pc:picChg>
        <pc:picChg chg="add mod">
          <ac:chgData name="Fatma Alsagaf" userId="ef587b5e-378a-4bb3-aa9f-3c15b98138a4" providerId="ADAL" clId="{3F5618C8-8D5E-4E2B-8F0D-3AAFE622726E}" dt="2024-06-24T06:43:04.602" v="8289" actId="208"/>
          <ac:picMkLst>
            <pc:docMk/>
            <pc:sldMk cId="689723503" sldId="2147473101"/>
            <ac:picMk id="17" creationId="{4C370D03-F188-55A9-BDAE-B4EBD38B8358}"/>
          </ac:picMkLst>
        </pc:picChg>
        <pc:picChg chg="add mod">
          <ac:chgData name="Fatma Alsagaf" userId="ef587b5e-378a-4bb3-aa9f-3c15b98138a4" providerId="ADAL" clId="{3F5618C8-8D5E-4E2B-8F0D-3AAFE622726E}" dt="2024-06-24T06:43:04.602" v="8289" actId="208"/>
          <ac:picMkLst>
            <pc:docMk/>
            <pc:sldMk cId="689723503" sldId="2147473101"/>
            <ac:picMk id="18" creationId="{16CC74AC-88AC-D75D-AB3D-585000EC4966}"/>
          </ac:picMkLst>
        </pc:picChg>
        <pc:picChg chg="add del mod">
          <ac:chgData name="Fatma Alsagaf" userId="ef587b5e-378a-4bb3-aa9f-3c15b98138a4" providerId="ADAL" clId="{3F5618C8-8D5E-4E2B-8F0D-3AAFE622726E}" dt="2024-06-24T06:39:19.713" v="8254" actId="21"/>
          <ac:picMkLst>
            <pc:docMk/>
            <pc:sldMk cId="689723503" sldId="2147473101"/>
            <ac:picMk id="20" creationId="{15AC1D3D-3499-C0A5-43AA-FF70657D9D0B}"/>
          </ac:picMkLst>
        </pc:picChg>
        <pc:picChg chg="add mod">
          <ac:chgData name="Fatma Alsagaf" userId="ef587b5e-378a-4bb3-aa9f-3c15b98138a4" providerId="ADAL" clId="{3F5618C8-8D5E-4E2B-8F0D-3AAFE622726E}" dt="2024-06-24T06:41:34.990" v="8274" actId="1076"/>
          <ac:picMkLst>
            <pc:docMk/>
            <pc:sldMk cId="689723503" sldId="2147473101"/>
            <ac:picMk id="21" creationId="{BCBC09CF-C682-F7F4-750D-B665234E8E8C}"/>
          </ac:picMkLst>
        </pc:picChg>
        <pc:picChg chg="add del mod">
          <ac:chgData name="Fatma Alsagaf" userId="ef587b5e-378a-4bb3-aa9f-3c15b98138a4" providerId="ADAL" clId="{3F5618C8-8D5E-4E2B-8F0D-3AAFE622726E}" dt="2024-06-24T06:41:58.076" v="8277" actId="21"/>
          <ac:picMkLst>
            <pc:docMk/>
            <pc:sldMk cId="689723503" sldId="2147473101"/>
            <ac:picMk id="23" creationId="{2144F0F9-F057-C417-E48A-D86489E6EC7E}"/>
          </ac:picMkLst>
        </pc:picChg>
        <pc:picChg chg="add del mod">
          <ac:chgData name="Fatma Alsagaf" userId="ef587b5e-378a-4bb3-aa9f-3c15b98138a4" providerId="ADAL" clId="{3F5618C8-8D5E-4E2B-8F0D-3AAFE622726E}" dt="2024-06-24T06:42:11.994" v="8278" actId="21"/>
          <ac:picMkLst>
            <pc:docMk/>
            <pc:sldMk cId="689723503" sldId="2147473101"/>
            <ac:picMk id="25" creationId="{BAE49A07-7D0B-D732-418F-8553BA18C5C4}"/>
          </ac:picMkLst>
        </pc:picChg>
        <pc:picChg chg="add del mod">
          <ac:chgData name="Fatma Alsagaf" userId="ef587b5e-378a-4bb3-aa9f-3c15b98138a4" providerId="ADAL" clId="{3F5618C8-8D5E-4E2B-8F0D-3AAFE622726E}" dt="2024-06-24T06:40:15.148" v="8259" actId="21"/>
          <ac:picMkLst>
            <pc:docMk/>
            <pc:sldMk cId="689723503" sldId="2147473101"/>
            <ac:picMk id="27" creationId="{EAEB7DC6-FD96-D551-5E9A-4740F51F886B}"/>
          </ac:picMkLst>
        </pc:picChg>
      </pc:sldChg>
      <pc:sldChg chg="addSp delSp modSp new add del mod modShow">
        <pc:chgData name="Fatma Alsagaf" userId="ef587b5e-378a-4bb3-aa9f-3c15b98138a4" providerId="ADAL" clId="{3F5618C8-8D5E-4E2B-8F0D-3AAFE622726E}" dt="2024-06-24T08:05:26.015" v="8854" actId="47"/>
        <pc:sldMkLst>
          <pc:docMk/>
          <pc:sldMk cId="2502427049" sldId="2147473102"/>
        </pc:sldMkLst>
        <pc:spChg chg="add mod">
          <ac:chgData name="Fatma Alsagaf" userId="ef587b5e-378a-4bb3-aa9f-3c15b98138a4" providerId="ADAL" clId="{3F5618C8-8D5E-4E2B-8F0D-3AAFE622726E}" dt="2024-06-24T06:23:46.789" v="7784" actId="207"/>
          <ac:spMkLst>
            <pc:docMk/>
            <pc:sldMk cId="2502427049" sldId="2147473102"/>
            <ac:spMk id="2" creationId="{18B99F54-C912-78F0-4242-697BB8EA6A65}"/>
          </ac:spMkLst>
        </pc:spChg>
        <pc:spChg chg="del">
          <ac:chgData name="Fatma Alsagaf" userId="ef587b5e-378a-4bb3-aa9f-3c15b98138a4" providerId="ADAL" clId="{3F5618C8-8D5E-4E2B-8F0D-3AAFE622726E}" dt="2024-06-21T13:23:46.146" v="6402" actId="478"/>
          <ac:spMkLst>
            <pc:docMk/>
            <pc:sldMk cId="2502427049" sldId="2147473102"/>
            <ac:spMk id="2" creationId="{CDC832F9-F521-83C7-C103-C8A0745266B8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4" creationId="{15B242E5-B48A-E5B5-8EB9-578581858972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7" creationId="{DBCE63F1-7295-4B1F-E312-A02A842481B2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9" creationId="{B5E54ABA-6407-6FB7-C347-B3B78BE6756D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12" creationId="{27B89537-FFAE-35F6-6E73-15B8342205DB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14" creationId="{2ECE226C-2026-B9AD-A433-DA6AD345E1D6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17" creationId="{5E4F7BF4-9C3A-BAF0-510A-E86DE713C0CD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19" creationId="{9C5F3BCE-74D0-7539-0161-C34EAAE0EA09}"/>
          </ac:spMkLst>
        </pc:spChg>
        <pc:spChg chg="mod">
          <ac:chgData name="Fatma Alsagaf" userId="ef587b5e-378a-4bb3-aa9f-3c15b98138a4" providerId="ADAL" clId="{3F5618C8-8D5E-4E2B-8F0D-3AAFE622726E}" dt="2024-06-24T06:36:16.982" v="8244" actId="14100"/>
          <ac:spMkLst>
            <pc:docMk/>
            <pc:sldMk cId="2502427049" sldId="2147473102"/>
            <ac:spMk id="22" creationId="{A2844489-5F5D-1C39-25BE-F68B1DC0CE77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24" creationId="{19211895-BD53-D774-C9FD-7AC089A04290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26" creationId="{2CC96730-BCB6-D80A-3640-BFCDF012AACB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33" creationId="{A77BC049-C762-B9DF-EB35-805DD64D7D2F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36" creationId="{A94E6AFD-0884-9EF5-F662-4D4A5061FC35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38" creationId="{BBD4906F-1775-6F74-96DF-81982864129D}"/>
          </ac:spMkLst>
        </pc:spChg>
        <pc:spChg chg="mod">
          <ac:chgData name="Fatma Alsagaf" userId="ef587b5e-378a-4bb3-aa9f-3c15b98138a4" providerId="ADAL" clId="{3F5618C8-8D5E-4E2B-8F0D-3AAFE622726E}" dt="2024-06-24T06:24:22.233" v="7785" actId="208"/>
          <ac:spMkLst>
            <pc:docMk/>
            <pc:sldMk cId="2502427049" sldId="2147473102"/>
            <ac:spMk id="41" creationId="{8AA23B94-D8F0-95E3-2709-7FC1533DFC6D}"/>
          </ac:spMkLst>
        </pc:spChg>
        <pc:spChg chg="add mod">
          <ac:chgData name="Fatma Alsagaf" userId="ef587b5e-378a-4bb3-aa9f-3c15b98138a4" providerId="ADAL" clId="{3F5618C8-8D5E-4E2B-8F0D-3AAFE622726E}" dt="2024-06-24T06:27:24.410" v="7823" actId="2085"/>
          <ac:spMkLst>
            <pc:docMk/>
            <pc:sldMk cId="2502427049" sldId="2147473102"/>
            <ac:spMk id="44" creationId="{CE2D24D5-0220-88AE-7609-EA336A4A1E60}"/>
          </ac:spMkLst>
        </pc:spChg>
        <pc:spChg chg="add mod">
          <ac:chgData name="Fatma Alsagaf" userId="ef587b5e-378a-4bb3-aa9f-3c15b98138a4" providerId="ADAL" clId="{3F5618C8-8D5E-4E2B-8F0D-3AAFE622726E}" dt="2024-06-24T06:24:29.492" v="7786" actId="2085"/>
          <ac:spMkLst>
            <pc:docMk/>
            <pc:sldMk cId="2502427049" sldId="2147473102"/>
            <ac:spMk id="45" creationId="{E8BFA6D2-8977-9BA3-D43D-10D5C2B512FE}"/>
          </ac:spMkLst>
        </pc:spChg>
        <pc:spChg chg="add mod">
          <ac:chgData name="Fatma Alsagaf" userId="ef587b5e-378a-4bb3-aa9f-3c15b98138a4" providerId="ADAL" clId="{3F5618C8-8D5E-4E2B-8F0D-3AAFE622726E}" dt="2024-06-24T06:26:02.570" v="7788" actId="2085"/>
          <ac:spMkLst>
            <pc:docMk/>
            <pc:sldMk cId="2502427049" sldId="2147473102"/>
            <ac:spMk id="46" creationId="{5A586F2B-E767-795A-ECE4-4FE1D47D17BE}"/>
          </ac:spMkLst>
        </pc:spChg>
        <pc:spChg chg="add mod">
          <ac:chgData name="Fatma Alsagaf" userId="ef587b5e-378a-4bb3-aa9f-3c15b98138a4" providerId="ADAL" clId="{3F5618C8-8D5E-4E2B-8F0D-3AAFE622726E}" dt="2024-06-24T06:26:05.164" v="7789" actId="2085"/>
          <ac:spMkLst>
            <pc:docMk/>
            <pc:sldMk cId="2502427049" sldId="2147473102"/>
            <ac:spMk id="47" creationId="{7EE0D0EC-F600-3F7F-7F4C-C53027408F02}"/>
          </ac:spMkLst>
        </pc:spChg>
        <pc:spChg chg="add mod">
          <ac:chgData name="Fatma Alsagaf" userId="ef587b5e-378a-4bb3-aa9f-3c15b98138a4" providerId="ADAL" clId="{3F5618C8-8D5E-4E2B-8F0D-3AAFE622726E}" dt="2024-06-24T06:35:49.584" v="8229" actId="20577"/>
          <ac:spMkLst>
            <pc:docMk/>
            <pc:sldMk cId="2502427049" sldId="2147473102"/>
            <ac:spMk id="48" creationId="{F4B35DE9-B449-7E62-7251-480A9C91EAFD}"/>
          </ac:spMkLst>
        </pc:spChg>
        <pc:spChg chg="add mod">
          <ac:chgData name="Fatma Alsagaf" userId="ef587b5e-378a-4bb3-aa9f-3c15b98138a4" providerId="ADAL" clId="{3F5618C8-8D5E-4E2B-8F0D-3AAFE622726E}" dt="2024-06-24T06:26:15.025" v="7792" actId="2085"/>
          <ac:spMkLst>
            <pc:docMk/>
            <pc:sldMk cId="2502427049" sldId="2147473102"/>
            <ac:spMk id="49" creationId="{B308FB9C-4959-5644-CDAC-842BDFE2A663}"/>
          </ac:spMkLst>
        </pc:spChg>
        <pc:spChg chg="add mod">
          <ac:chgData name="Fatma Alsagaf" userId="ef587b5e-378a-4bb3-aa9f-3c15b98138a4" providerId="ADAL" clId="{3F5618C8-8D5E-4E2B-8F0D-3AAFE622726E}" dt="2024-06-24T06:35:30.641" v="8198" actId="20577"/>
          <ac:spMkLst>
            <pc:docMk/>
            <pc:sldMk cId="2502427049" sldId="2147473102"/>
            <ac:spMk id="50" creationId="{C0E74F6B-0C5B-680C-7A1C-40A0F5089CF0}"/>
          </ac:spMkLst>
        </pc:spChg>
        <pc:spChg chg="add mod">
          <ac:chgData name="Fatma Alsagaf" userId="ef587b5e-378a-4bb3-aa9f-3c15b98138a4" providerId="ADAL" clId="{3F5618C8-8D5E-4E2B-8F0D-3AAFE622726E}" dt="2024-06-24T06:35:09.071" v="8137" actId="6549"/>
          <ac:spMkLst>
            <pc:docMk/>
            <pc:sldMk cId="2502427049" sldId="2147473102"/>
            <ac:spMk id="51" creationId="{1DD632B0-9708-7BA8-8F28-F5EC595F8C2E}"/>
          </ac:spMkLst>
        </pc:spChg>
        <pc:spChg chg="add mod">
          <ac:chgData name="Fatma Alsagaf" userId="ef587b5e-378a-4bb3-aa9f-3c15b98138a4" providerId="ADAL" clId="{3F5618C8-8D5E-4E2B-8F0D-3AAFE622726E}" dt="2024-06-24T06:26:15.025" v="7792" actId="2085"/>
          <ac:spMkLst>
            <pc:docMk/>
            <pc:sldMk cId="2502427049" sldId="2147473102"/>
            <ac:spMk id="52" creationId="{9E571D73-1B38-83FC-3E3A-985A20A49180}"/>
          </ac:spMkLst>
        </pc:spChg>
        <pc:spChg chg="add mod">
          <ac:chgData name="Fatma Alsagaf" userId="ef587b5e-378a-4bb3-aa9f-3c15b98138a4" providerId="ADAL" clId="{3F5618C8-8D5E-4E2B-8F0D-3AAFE622726E}" dt="2024-06-24T06:35:35.278" v="8207" actId="20577"/>
          <ac:spMkLst>
            <pc:docMk/>
            <pc:sldMk cId="2502427049" sldId="2147473102"/>
            <ac:spMk id="53" creationId="{F41B21BC-DF48-0B06-148F-739ECD287F92}"/>
          </ac:spMkLst>
        </pc:spChg>
        <pc:spChg chg="add mod">
          <ac:chgData name="Fatma Alsagaf" userId="ef587b5e-378a-4bb3-aa9f-3c15b98138a4" providerId="ADAL" clId="{3F5618C8-8D5E-4E2B-8F0D-3AAFE622726E}" dt="2024-06-24T06:26:02.570" v="7788" actId="2085"/>
          <ac:spMkLst>
            <pc:docMk/>
            <pc:sldMk cId="2502427049" sldId="2147473102"/>
            <ac:spMk id="54" creationId="{749F5DC6-D211-2EDB-84D7-D09AA0C599C6}"/>
          </ac:spMkLst>
        </pc:spChg>
        <pc:spChg chg="add mod">
          <ac:chgData name="Fatma Alsagaf" userId="ef587b5e-378a-4bb3-aa9f-3c15b98138a4" providerId="ADAL" clId="{3F5618C8-8D5E-4E2B-8F0D-3AAFE622726E}" dt="2024-06-24T06:26:11.236" v="7791" actId="2085"/>
          <ac:spMkLst>
            <pc:docMk/>
            <pc:sldMk cId="2502427049" sldId="2147473102"/>
            <ac:spMk id="55" creationId="{ADFB7822-B4FC-020A-E619-CB1C939DB45C}"/>
          </ac:spMkLst>
        </pc:spChg>
        <pc:spChg chg="add mod">
          <ac:chgData name="Fatma Alsagaf" userId="ef587b5e-378a-4bb3-aa9f-3c15b98138a4" providerId="ADAL" clId="{3F5618C8-8D5E-4E2B-8F0D-3AAFE622726E}" dt="2024-06-24T06:35:03.556" v="8136" actId="20577"/>
          <ac:spMkLst>
            <pc:docMk/>
            <pc:sldMk cId="2502427049" sldId="2147473102"/>
            <ac:spMk id="56" creationId="{53D79F5E-ABD1-69A8-BBCE-8D30EBABCF1C}"/>
          </ac:spMkLst>
        </pc:spChg>
        <pc:spChg chg="add mod">
          <ac:chgData name="Fatma Alsagaf" userId="ef587b5e-378a-4bb3-aa9f-3c15b98138a4" providerId="ADAL" clId="{3F5618C8-8D5E-4E2B-8F0D-3AAFE622726E}" dt="2024-06-24T06:26:05.164" v="7789" actId="2085"/>
          <ac:spMkLst>
            <pc:docMk/>
            <pc:sldMk cId="2502427049" sldId="2147473102"/>
            <ac:spMk id="57" creationId="{C811C3F2-3A65-4F5A-3050-CBAA29EF2F6C}"/>
          </ac:spMkLst>
        </pc:spChg>
        <pc:spChg chg="add del mod">
          <ac:chgData name="Fatma Alsagaf" userId="ef587b5e-378a-4bb3-aa9f-3c15b98138a4" providerId="ADAL" clId="{3F5618C8-8D5E-4E2B-8F0D-3AAFE622726E}" dt="2024-06-24T06:20:49.407" v="7688" actId="478"/>
          <ac:spMkLst>
            <pc:docMk/>
            <pc:sldMk cId="2502427049" sldId="2147473102"/>
            <ac:spMk id="58" creationId="{6AACDAB7-6EB0-28BF-77CD-87492CAAA375}"/>
          </ac:spMkLst>
        </pc:s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3" creationId="{C0BE35F7-2CCD-136D-C691-9C1BB9B7788D}"/>
          </ac:grpSpMkLst>
        </pc:gr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8" creationId="{5800F11C-BCC2-FB41-395F-08B66FC9C0AF}"/>
          </ac:grpSpMkLst>
        </pc:gr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13" creationId="{CF4D16FF-E075-DDB6-1AD7-71C339A36A56}"/>
          </ac:grpSpMkLst>
        </pc:gr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18" creationId="{4D5CCF21-DFE0-5BB2-55E6-0DAD8CF376C7}"/>
          </ac:grpSpMkLst>
        </pc:gr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23" creationId="{FC642FF9-0C5C-A93C-728E-902ED08F029F}"/>
          </ac:grpSpMkLst>
        </pc:gr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32" creationId="{6C4D298C-AAA3-AFC5-C85A-2DBB107C39BF}"/>
          </ac:grpSpMkLst>
        </pc:grpChg>
        <pc:grpChg chg="add mod">
          <ac:chgData name="Fatma Alsagaf" userId="ef587b5e-378a-4bb3-aa9f-3c15b98138a4" providerId="ADAL" clId="{3F5618C8-8D5E-4E2B-8F0D-3AAFE622726E}" dt="2024-06-24T06:23:46.789" v="7784" actId="207"/>
          <ac:grpSpMkLst>
            <pc:docMk/>
            <pc:sldMk cId="2502427049" sldId="2147473102"/>
            <ac:grpSpMk id="37" creationId="{3097F8F8-7855-A09B-5C10-420F9E58EE61}"/>
          </ac:grpSpMkLst>
        </pc:grpChg>
        <pc:picChg chg="add del mod">
          <ac:chgData name="Fatma Alsagaf" userId="ef587b5e-378a-4bb3-aa9f-3c15b98138a4" providerId="ADAL" clId="{3F5618C8-8D5E-4E2B-8F0D-3AAFE622726E}" dt="2024-06-24T06:18:21.948" v="7606" actId="478"/>
          <ac:picMkLst>
            <pc:docMk/>
            <pc:sldMk cId="2502427049" sldId="2147473102"/>
            <ac:picMk id="59" creationId="{3B261213-DD42-F348-9713-5314578A853F}"/>
          </ac:picMkLst>
        </pc:pic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5" creationId="{66C7B463-6BF6-317F-0748-D13A9EB71969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6" creationId="{23015DE7-7FF1-4281-0D91-64D2AC66D074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10" creationId="{1CB298EB-2CB4-BAD8-0435-E4EB5265F690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11" creationId="{6F506DF8-C17B-DA4C-9713-9B22E0474BE9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15" creationId="{F48EE72C-D1DB-E1CC-8AC1-D1235894EB6A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16" creationId="{7238C9F5-1487-CBC8-148F-EB1F7DB0346F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20" creationId="{C8ADA660-6C66-EB55-6E3B-7FAF84769AE6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21" creationId="{35629CC5-F953-FCDA-932E-B8642B972EFD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25" creationId="{9003F8BB-2740-6726-953F-5E55616EDAB6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27" creationId="{0376E728-7932-EBB3-69F3-3CBF6B254F10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28" creationId="{B7FD03CD-C33D-B6F2-0F83-E95086DE9A39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29" creationId="{30666B80-C352-5136-C5CD-E76A9237633F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30" creationId="{73ECD650-D4FC-5F2D-19C7-CD29A8E54BDE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31" creationId="{B12D20ED-05F7-0D0C-6AF1-2C506CF87A1A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34" creationId="{C740578B-7AA3-5E5A-5A0D-B13F1D4B2F41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35" creationId="{E632F9B2-3624-492E-D9E6-FAEBEE90E997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39" creationId="{43765606-6861-B876-E876-0BF140059D37}"/>
          </ac:cxnSpMkLst>
        </pc:cxnChg>
        <pc:cxnChg chg="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40" creationId="{DAFC706C-641C-B5C1-F2E6-1083D7A3B046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42" creationId="{1EFF10E6-469D-6A55-D0CC-B552F97885CE}"/>
          </ac:cxnSpMkLst>
        </pc:cxnChg>
        <pc:cxnChg chg="add mod">
          <ac:chgData name="Fatma Alsagaf" userId="ef587b5e-378a-4bb3-aa9f-3c15b98138a4" providerId="ADAL" clId="{3F5618C8-8D5E-4E2B-8F0D-3AAFE622726E}" dt="2024-06-24T06:24:22.233" v="7785" actId="208"/>
          <ac:cxnSpMkLst>
            <pc:docMk/>
            <pc:sldMk cId="2502427049" sldId="2147473102"/>
            <ac:cxnSpMk id="43" creationId="{59651BBE-FDD1-93CB-5CA7-1FA3D089DB82}"/>
          </ac:cxnSpMkLst>
        </pc:cxnChg>
      </pc:sldChg>
      <pc:sldChg chg="addSp delSp modSp add del mod">
        <pc:chgData name="Fatma Alsagaf" userId="ef587b5e-378a-4bb3-aa9f-3c15b98138a4" providerId="ADAL" clId="{3F5618C8-8D5E-4E2B-8F0D-3AAFE622726E}" dt="2024-06-24T09:14:13.837" v="9470" actId="47"/>
        <pc:sldMkLst>
          <pc:docMk/>
          <pc:sldMk cId="1697292666" sldId="2147473103"/>
        </pc:sldMkLst>
        <pc:spChg chg="mod">
          <ac:chgData name="Fatma Alsagaf" userId="ef587b5e-378a-4bb3-aa9f-3c15b98138a4" providerId="ADAL" clId="{3F5618C8-8D5E-4E2B-8F0D-3AAFE622726E}" dt="2024-06-24T05:14:30.197" v="6963" actId="20577"/>
          <ac:spMkLst>
            <pc:docMk/>
            <pc:sldMk cId="1697292666" sldId="2147473103"/>
            <ac:spMk id="4" creationId="{C8D37876-7FA7-6480-A1CB-359B99436A3A}"/>
          </ac:spMkLst>
        </pc:spChg>
        <pc:spChg chg="del">
          <ac:chgData name="Fatma Alsagaf" userId="ef587b5e-378a-4bb3-aa9f-3c15b98138a4" providerId="ADAL" clId="{3F5618C8-8D5E-4E2B-8F0D-3AAFE622726E}" dt="2024-06-24T06:46:32.926" v="8321" actId="478"/>
          <ac:spMkLst>
            <pc:docMk/>
            <pc:sldMk cId="1697292666" sldId="2147473103"/>
            <ac:spMk id="7" creationId="{54292C9F-AF58-7C4F-2706-9CC765BD26A8}"/>
          </ac:spMkLst>
        </pc:spChg>
        <pc:spChg chg="add mod">
          <ac:chgData name="Fatma Alsagaf" userId="ef587b5e-378a-4bb3-aa9f-3c15b98138a4" providerId="ADAL" clId="{3F5618C8-8D5E-4E2B-8F0D-3AAFE622726E}" dt="2024-06-24T06:46:33.805" v="8322"/>
          <ac:spMkLst>
            <pc:docMk/>
            <pc:sldMk cId="1697292666" sldId="2147473103"/>
            <ac:spMk id="14" creationId="{E2D607B3-F9A8-0D86-96BF-212716467EF8}"/>
          </ac:spMkLst>
        </pc:spChg>
        <pc:picChg chg="del">
          <ac:chgData name="Fatma Alsagaf" userId="ef587b5e-378a-4bb3-aa9f-3c15b98138a4" providerId="ADAL" clId="{3F5618C8-8D5E-4E2B-8F0D-3AAFE622726E}" dt="2024-06-24T05:12:07.656" v="6927" actId="478"/>
          <ac:picMkLst>
            <pc:docMk/>
            <pc:sldMk cId="1697292666" sldId="2147473103"/>
            <ac:picMk id="5" creationId="{F7E698E5-5E6D-C4B1-EDE3-30D0665CD17E}"/>
          </ac:picMkLst>
        </pc:picChg>
        <pc:picChg chg="del">
          <ac:chgData name="Fatma Alsagaf" userId="ef587b5e-378a-4bb3-aa9f-3c15b98138a4" providerId="ADAL" clId="{3F5618C8-8D5E-4E2B-8F0D-3AAFE622726E}" dt="2024-06-24T05:12:07.656" v="6927" actId="478"/>
          <ac:picMkLst>
            <pc:docMk/>
            <pc:sldMk cId="1697292666" sldId="2147473103"/>
            <ac:picMk id="6" creationId="{93F0D29F-32BA-CAB6-F229-97773C79EE47}"/>
          </ac:picMkLst>
        </pc:picChg>
        <pc:picChg chg="del">
          <ac:chgData name="Fatma Alsagaf" userId="ef587b5e-378a-4bb3-aa9f-3c15b98138a4" providerId="ADAL" clId="{3F5618C8-8D5E-4E2B-8F0D-3AAFE622726E}" dt="2024-06-24T05:12:07.656" v="6927" actId="478"/>
          <ac:picMkLst>
            <pc:docMk/>
            <pc:sldMk cId="1697292666" sldId="2147473103"/>
            <ac:picMk id="8" creationId="{E4605DE4-6666-B1F6-ED79-930934643961}"/>
          </ac:picMkLst>
        </pc:picChg>
        <pc:picChg chg="add del mod">
          <ac:chgData name="Fatma Alsagaf" userId="ef587b5e-378a-4bb3-aa9f-3c15b98138a4" providerId="ADAL" clId="{3F5618C8-8D5E-4E2B-8F0D-3AAFE622726E}" dt="2024-06-24T09:12:32.379" v="9444" actId="21"/>
          <ac:picMkLst>
            <pc:docMk/>
            <pc:sldMk cId="1697292666" sldId="2147473103"/>
            <ac:picMk id="9" creationId="{7B6B5E9A-B518-C922-1D93-0ADB6C187D22}"/>
          </ac:picMkLst>
        </pc:picChg>
        <pc:picChg chg="add del mod">
          <ac:chgData name="Fatma Alsagaf" userId="ef587b5e-378a-4bb3-aa9f-3c15b98138a4" providerId="ADAL" clId="{3F5618C8-8D5E-4E2B-8F0D-3AAFE622726E}" dt="2024-06-24T09:13:05.824" v="9456" actId="21"/>
          <ac:picMkLst>
            <pc:docMk/>
            <pc:sldMk cId="1697292666" sldId="2147473103"/>
            <ac:picMk id="11" creationId="{037968EB-5C8F-2BFB-99AD-E4AE21D3C5E9}"/>
          </ac:picMkLst>
        </pc:picChg>
        <pc:picChg chg="add del mod">
          <ac:chgData name="Fatma Alsagaf" userId="ef587b5e-378a-4bb3-aa9f-3c15b98138a4" providerId="ADAL" clId="{3F5618C8-8D5E-4E2B-8F0D-3AAFE622726E}" dt="2024-06-24T09:13:32.316" v="9463" actId="21"/>
          <ac:picMkLst>
            <pc:docMk/>
            <pc:sldMk cId="1697292666" sldId="2147473103"/>
            <ac:picMk id="13" creationId="{9D8C9BF0-FAC2-780A-1C4C-3C9941496070}"/>
          </ac:picMkLst>
        </pc:picChg>
      </pc:sldChg>
      <pc:sldChg chg="addSp delSp modSp add mod">
        <pc:chgData name="Fatma Alsagaf" userId="ef587b5e-378a-4bb3-aa9f-3c15b98138a4" providerId="ADAL" clId="{3F5618C8-8D5E-4E2B-8F0D-3AAFE622726E}" dt="2024-06-24T05:38:28.363" v="7206" actId="1035"/>
        <pc:sldMkLst>
          <pc:docMk/>
          <pc:sldMk cId="658422066" sldId="2147473104"/>
        </pc:sldMkLst>
        <pc:spChg chg="del">
          <ac:chgData name="Fatma Alsagaf" userId="ef587b5e-378a-4bb3-aa9f-3c15b98138a4" providerId="ADAL" clId="{3F5618C8-8D5E-4E2B-8F0D-3AAFE622726E}" dt="2024-06-24T05:26:01.394" v="7136" actId="478"/>
          <ac:spMkLst>
            <pc:docMk/>
            <pc:sldMk cId="658422066" sldId="2147473104"/>
            <ac:spMk id="13" creationId="{03172ED0-057C-1452-E6E5-1DC16725A5D9}"/>
          </ac:spMkLst>
        </pc:spChg>
        <pc:spChg chg="del">
          <ac:chgData name="Fatma Alsagaf" userId="ef587b5e-378a-4bb3-aa9f-3c15b98138a4" providerId="ADAL" clId="{3F5618C8-8D5E-4E2B-8F0D-3AAFE622726E}" dt="2024-06-24T05:26:01.394" v="7136" actId="478"/>
          <ac:spMkLst>
            <pc:docMk/>
            <pc:sldMk cId="658422066" sldId="2147473104"/>
            <ac:spMk id="16" creationId="{570CDBE4-CF76-8E8B-64BC-378610B25DBB}"/>
          </ac:spMkLst>
        </pc:spChg>
        <pc:spChg chg="del">
          <ac:chgData name="Fatma Alsagaf" userId="ef587b5e-378a-4bb3-aa9f-3c15b98138a4" providerId="ADAL" clId="{3F5618C8-8D5E-4E2B-8F0D-3AAFE622726E}" dt="2024-06-24T05:38:22.154" v="7202" actId="478"/>
          <ac:spMkLst>
            <pc:docMk/>
            <pc:sldMk cId="658422066" sldId="2147473104"/>
            <ac:spMk id="28" creationId="{DEF9ED11-4CFA-AD09-AB2E-ADD53343E798}"/>
          </ac:spMkLst>
        </pc:spChg>
        <pc:spChg chg="del">
          <ac:chgData name="Fatma Alsagaf" userId="ef587b5e-378a-4bb3-aa9f-3c15b98138a4" providerId="ADAL" clId="{3F5618C8-8D5E-4E2B-8F0D-3AAFE622726E}" dt="2024-06-24T05:26:01.394" v="7136" actId="478"/>
          <ac:spMkLst>
            <pc:docMk/>
            <pc:sldMk cId="658422066" sldId="2147473104"/>
            <ac:spMk id="29" creationId="{F27CA674-7111-C02F-1894-6FAB1F04707F}"/>
          </ac:spMkLst>
        </pc:spChg>
        <pc:picChg chg="add mod modCrop">
          <ac:chgData name="Fatma Alsagaf" userId="ef587b5e-378a-4bb3-aa9f-3c15b98138a4" providerId="ADAL" clId="{3F5618C8-8D5E-4E2B-8F0D-3AAFE622726E}" dt="2024-06-24T05:31:55.819" v="7173" actId="732"/>
          <ac:picMkLst>
            <pc:docMk/>
            <pc:sldMk cId="658422066" sldId="2147473104"/>
            <ac:picMk id="5" creationId="{149A8A8C-E2BB-2E8F-1FEE-32B8DECAECC2}"/>
          </ac:picMkLst>
        </pc:picChg>
        <pc:picChg chg="add del mod">
          <ac:chgData name="Fatma Alsagaf" userId="ef587b5e-378a-4bb3-aa9f-3c15b98138a4" providerId="ADAL" clId="{3F5618C8-8D5E-4E2B-8F0D-3AAFE622726E}" dt="2024-06-24T05:26:35.877" v="7142" actId="478"/>
          <ac:picMkLst>
            <pc:docMk/>
            <pc:sldMk cId="658422066" sldId="2147473104"/>
            <ac:picMk id="7" creationId="{9BCE59C8-206C-D235-B78E-28987C700D50}"/>
          </ac:picMkLst>
        </pc:picChg>
        <pc:picChg chg="add mod modCrop">
          <ac:chgData name="Fatma Alsagaf" userId="ef587b5e-378a-4bb3-aa9f-3c15b98138a4" providerId="ADAL" clId="{3F5618C8-8D5E-4E2B-8F0D-3AAFE622726E}" dt="2024-06-24T05:37:54.686" v="7192" actId="1076"/>
          <ac:picMkLst>
            <pc:docMk/>
            <pc:sldMk cId="658422066" sldId="2147473104"/>
            <ac:picMk id="9" creationId="{3D2EB950-2172-C3B7-B9D1-F1BEDBB8D64B}"/>
          </ac:picMkLst>
        </pc:picChg>
        <pc:picChg chg="add mod modCrop">
          <ac:chgData name="Fatma Alsagaf" userId="ef587b5e-378a-4bb3-aa9f-3c15b98138a4" providerId="ADAL" clId="{3F5618C8-8D5E-4E2B-8F0D-3AAFE622726E}" dt="2024-06-24T05:38:28.363" v="7206" actId="1035"/>
          <ac:picMkLst>
            <pc:docMk/>
            <pc:sldMk cId="658422066" sldId="2147473104"/>
            <ac:picMk id="11" creationId="{E1128A96-6BD8-B30A-3638-77898BDD6E7A}"/>
          </ac:picMkLst>
        </pc:picChg>
        <pc:picChg chg="add del mod">
          <ac:chgData name="Fatma Alsagaf" userId="ef587b5e-378a-4bb3-aa9f-3c15b98138a4" providerId="ADAL" clId="{3F5618C8-8D5E-4E2B-8F0D-3AAFE622726E}" dt="2024-06-24T05:27:27.004" v="7160" actId="478"/>
          <ac:picMkLst>
            <pc:docMk/>
            <pc:sldMk cId="658422066" sldId="2147473104"/>
            <ac:picMk id="14" creationId="{AAA19B20-9A20-107F-577A-7B089AA33930}"/>
          </ac:picMkLst>
        </pc:picChg>
        <pc:picChg chg="add mod modCrop">
          <ac:chgData name="Fatma Alsagaf" userId="ef587b5e-378a-4bb3-aa9f-3c15b98138a4" providerId="ADAL" clId="{3F5618C8-8D5E-4E2B-8F0D-3AAFE622726E}" dt="2024-06-24T05:37:47.244" v="7190" actId="1076"/>
          <ac:picMkLst>
            <pc:docMk/>
            <pc:sldMk cId="658422066" sldId="2147473104"/>
            <ac:picMk id="17" creationId="{2203E707-814E-1A19-8178-AC65BF89B08D}"/>
          </ac:picMkLst>
        </pc:picChg>
        <pc:picChg chg="add mod modCrop">
          <ac:chgData name="Fatma Alsagaf" userId="ef587b5e-378a-4bb3-aa9f-3c15b98138a4" providerId="ADAL" clId="{3F5618C8-8D5E-4E2B-8F0D-3AAFE622726E}" dt="2024-06-24T05:38:09.325" v="7196" actId="1076"/>
          <ac:picMkLst>
            <pc:docMk/>
            <pc:sldMk cId="658422066" sldId="2147473104"/>
            <ac:picMk id="19" creationId="{60D26D84-52D1-C75E-BEB3-F9148B39502B}"/>
          </ac:picMkLst>
        </pc:picChg>
      </pc:sldChg>
      <pc:sldChg chg="add del">
        <pc:chgData name="Fatma Alsagaf" userId="ef587b5e-378a-4bb3-aa9f-3c15b98138a4" providerId="ADAL" clId="{3F5618C8-8D5E-4E2B-8F0D-3AAFE622726E}" dt="2024-06-24T05:12:09.396" v="6929"/>
        <pc:sldMkLst>
          <pc:docMk/>
          <pc:sldMk cId="2048673137" sldId="2147473104"/>
        </pc:sldMkLst>
      </pc:sldChg>
      <pc:sldChg chg="add del">
        <pc:chgData name="Fatma Alsagaf" userId="ef587b5e-378a-4bb3-aa9f-3c15b98138a4" providerId="ADAL" clId="{3F5618C8-8D5E-4E2B-8F0D-3AAFE622726E}" dt="2024-07-02T07:45:48.747" v="10610"/>
        <pc:sldMkLst>
          <pc:docMk/>
          <pc:sldMk cId="743475170" sldId="2147473105"/>
        </pc:sldMkLst>
      </pc:sldChg>
      <pc:sldChg chg="addSp delSp add del mod">
        <pc:chgData name="Fatma Alsagaf" userId="ef587b5e-378a-4bb3-aa9f-3c15b98138a4" providerId="ADAL" clId="{3F5618C8-8D5E-4E2B-8F0D-3AAFE622726E}" dt="2024-06-24T05:41:26.931" v="7217"/>
        <pc:sldMkLst>
          <pc:docMk/>
          <pc:sldMk cId="2033341680" sldId="2147473105"/>
        </pc:sldMkLst>
        <pc:spChg chg="add del">
          <ac:chgData name="Fatma Alsagaf" userId="ef587b5e-378a-4bb3-aa9f-3c15b98138a4" providerId="ADAL" clId="{3F5618C8-8D5E-4E2B-8F0D-3AAFE622726E}" dt="2024-06-24T05:41:25.486" v="7214" actId="478"/>
          <ac:spMkLst>
            <pc:docMk/>
            <pc:sldMk cId="2033341680" sldId="2147473105"/>
            <ac:spMk id="2" creationId="{2B27B052-886B-9312-6A18-1C874C943617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3" creationId="{ADD1ECA7-C9FD-3900-C2C9-383E1CB65A7D}"/>
          </ac:spMkLst>
        </pc:spChg>
        <pc:spChg chg="add del">
          <ac:chgData name="Fatma Alsagaf" userId="ef587b5e-378a-4bb3-aa9f-3c15b98138a4" providerId="ADAL" clId="{3F5618C8-8D5E-4E2B-8F0D-3AAFE622726E}" dt="2024-06-24T05:41:26.208" v="7215" actId="478"/>
          <ac:spMkLst>
            <pc:docMk/>
            <pc:sldMk cId="2033341680" sldId="2147473105"/>
            <ac:spMk id="4" creationId="{BDF08F88-1DBC-064C-CB65-BEFD944B5584}"/>
          </ac:spMkLst>
        </pc:spChg>
        <pc:spChg chg="add del">
          <ac:chgData name="Fatma Alsagaf" userId="ef587b5e-378a-4bb3-aa9f-3c15b98138a4" providerId="ADAL" clId="{3F5618C8-8D5E-4E2B-8F0D-3AAFE622726E}" dt="2024-06-24T05:41:26.208" v="7215" actId="478"/>
          <ac:spMkLst>
            <pc:docMk/>
            <pc:sldMk cId="2033341680" sldId="2147473105"/>
            <ac:spMk id="5" creationId="{A2872F5B-DBF0-86CC-1C42-2D378BDC10B2}"/>
          </ac:spMkLst>
        </pc:spChg>
        <pc:spChg chg="add del">
          <ac:chgData name="Fatma Alsagaf" userId="ef587b5e-378a-4bb3-aa9f-3c15b98138a4" providerId="ADAL" clId="{3F5618C8-8D5E-4E2B-8F0D-3AAFE622726E}" dt="2024-06-24T05:41:26.208" v="7215" actId="478"/>
          <ac:spMkLst>
            <pc:docMk/>
            <pc:sldMk cId="2033341680" sldId="2147473105"/>
            <ac:spMk id="6" creationId="{E72A62A2-F6B2-CAC2-04EC-06F8D2DC4E47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8" creationId="{C3765135-F03A-028E-E265-5949405F901C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0" creationId="{32F1CC5E-5F57-627A-980A-DFF90C4A04A9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1" creationId="{769532F0-0850-28ED-D701-F9EB68E7117A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2" creationId="{5E44D262-F740-743E-CB54-6FF1D7BC5681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3" creationId="{B7F5D2D5-B538-6C2F-9129-A2B49B3135E8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4" creationId="{C633A11B-BD98-A9EF-FBC4-F0239F32D17B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5" creationId="{084F7208-FE02-1668-DE15-05DE3E0474C7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6" creationId="{B4FFE5F9-9155-160A-0D54-77FE1F664747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7" creationId="{E5F1022C-5BFC-5AD2-7A6B-DB9B997DF796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8" creationId="{92C87612-B689-A81D-49E7-F16245F2F965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19" creationId="{5D296AFD-5178-B4F6-815E-E3A90AF31E9A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20" creationId="{93B7B233-5E35-0EF0-20A8-A25A5A0716AD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21" creationId="{0272B9F0-22D0-B8F5-A189-6028E85C0C47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22" creationId="{1DFD0AE3-83C1-3365-F45D-919F3F1CAD2E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23" creationId="{F9CF6FA7-A81E-6CB9-773D-7D6881D8E4E1}"/>
          </ac:spMkLst>
        </pc:spChg>
        <pc:spChg chg="add del">
          <ac:chgData name="Fatma Alsagaf" userId="ef587b5e-378a-4bb3-aa9f-3c15b98138a4" providerId="ADAL" clId="{3F5618C8-8D5E-4E2B-8F0D-3AAFE622726E}" dt="2024-06-24T05:41:26.695" v="7216" actId="478"/>
          <ac:spMkLst>
            <pc:docMk/>
            <pc:sldMk cId="2033341680" sldId="2147473105"/>
            <ac:spMk id="25" creationId="{8970F88E-DBD7-7097-8128-EA0EA83EC236}"/>
          </ac:spMkLst>
        </pc:spChg>
      </pc:sldChg>
      <pc:sldChg chg="addSp delSp modSp new mod">
        <pc:chgData name="Fatma Alsagaf" userId="ef587b5e-378a-4bb3-aa9f-3c15b98138a4" providerId="ADAL" clId="{3F5618C8-8D5E-4E2B-8F0D-3AAFE622726E}" dt="2024-07-02T13:03:32.926" v="11405" actId="1076"/>
        <pc:sldMkLst>
          <pc:docMk/>
          <pc:sldMk cId="2657307230" sldId="2147473105"/>
        </pc:sldMkLst>
        <pc:spChg chg="del">
          <ac:chgData name="Fatma Alsagaf" userId="ef587b5e-378a-4bb3-aa9f-3c15b98138a4" providerId="ADAL" clId="{3F5618C8-8D5E-4E2B-8F0D-3AAFE622726E}" dt="2024-07-02T12:26:17.454" v="10680" actId="478"/>
          <ac:spMkLst>
            <pc:docMk/>
            <pc:sldMk cId="2657307230" sldId="2147473105"/>
            <ac:spMk id="2" creationId="{B07E8EC2-4B1F-DFD5-DDBE-0CD1DFCF8AD5}"/>
          </ac:spMkLst>
        </pc:spChg>
        <pc:spChg chg="add mod">
          <ac:chgData name="Fatma Alsagaf" userId="ef587b5e-378a-4bb3-aa9f-3c15b98138a4" providerId="ADAL" clId="{3F5618C8-8D5E-4E2B-8F0D-3AAFE622726E}" dt="2024-07-02T12:42:02.547" v="11002" actId="6549"/>
          <ac:spMkLst>
            <pc:docMk/>
            <pc:sldMk cId="2657307230" sldId="2147473105"/>
            <ac:spMk id="3" creationId="{018305B7-1CC2-1CB0-25AC-172064DB7D80}"/>
          </ac:spMkLst>
        </pc:spChg>
        <pc:spChg chg="add del mod">
          <ac:chgData name="Fatma Alsagaf" userId="ef587b5e-378a-4bb3-aa9f-3c15b98138a4" providerId="ADAL" clId="{3F5618C8-8D5E-4E2B-8F0D-3AAFE622726E}" dt="2024-07-02T12:35:31.798" v="10850" actId="478"/>
          <ac:spMkLst>
            <pc:docMk/>
            <pc:sldMk cId="2657307230" sldId="2147473105"/>
            <ac:spMk id="7" creationId="{2534ED60-49BD-71E6-8887-8A5F4F6C5B0A}"/>
          </ac:spMkLst>
        </pc:spChg>
        <pc:spChg chg="mod">
          <ac:chgData name="Fatma Alsagaf" userId="ef587b5e-378a-4bb3-aa9f-3c15b98138a4" providerId="ADAL" clId="{3F5618C8-8D5E-4E2B-8F0D-3AAFE622726E}" dt="2024-07-02T12:36:35.822" v="10898" actId="20577"/>
          <ac:spMkLst>
            <pc:docMk/>
            <pc:sldMk cId="2657307230" sldId="2147473105"/>
            <ac:spMk id="20" creationId="{420FCE9A-DA7E-15C6-0106-FD5FFB6A0AA9}"/>
          </ac:spMkLst>
        </pc:spChg>
        <pc:spChg chg="mod">
          <ac:chgData name="Fatma Alsagaf" userId="ef587b5e-378a-4bb3-aa9f-3c15b98138a4" providerId="ADAL" clId="{3F5618C8-8D5E-4E2B-8F0D-3AAFE622726E}" dt="2024-07-02T12:38:35.464" v="10950" actId="20577"/>
          <ac:spMkLst>
            <pc:docMk/>
            <pc:sldMk cId="2657307230" sldId="2147473105"/>
            <ac:spMk id="21" creationId="{2132EC70-A011-6913-2195-18A74C788065}"/>
          </ac:spMkLst>
        </pc:spChg>
        <pc:spChg chg="mod">
          <ac:chgData name="Fatma Alsagaf" userId="ef587b5e-378a-4bb3-aa9f-3c15b98138a4" providerId="ADAL" clId="{3F5618C8-8D5E-4E2B-8F0D-3AAFE622726E}" dt="2024-07-02T12:36:45.594" v="10904" actId="20577"/>
          <ac:spMkLst>
            <pc:docMk/>
            <pc:sldMk cId="2657307230" sldId="2147473105"/>
            <ac:spMk id="22" creationId="{C0E93054-5627-D9AE-8BA1-2F05F4AB1997}"/>
          </ac:spMkLst>
        </pc:spChg>
        <pc:spChg chg="mod">
          <ac:chgData name="Fatma Alsagaf" userId="ef587b5e-378a-4bb3-aa9f-3c15b98138a4" providerId="ADAL" clId="{3F5618C8-8D5E-4E2B-8F0D-3AAFE622726E}" dt="2024-07-02T12:36:50.911" v="10907" actId="20577"/>
          <ac:spMkLst>
            <pc:docMk/>
            <pc:sldMk cId="2657307230" sldId="2147473105"/>
            <ac:spMk id="23" creationId="{42B8F7B7-2FBE-95A6-E9DE-732E0636D227}"/>
          </ac:spMkLst>
        </pc:spChg>
        <pc:spChg chg="mod">
          <ac:chgData name="Fatma Alsagaf" userId="ef587b5e-378a-4bb3-aa9f-3c15b98138a4" providerId="ADAL" clId="{3F5618C8-8D5E-4E2B-8F0D-3AAFE622726E}" dt="2024-07-02T12:36:54.664" v="10910" actId="20577"/>
          <ac:spMkLst>
            <pc:docMk/>
            <pc:sldMk cId="2657307230" sldId="2147473105"/>
            <ac:spMk id="24" creationId="{1A617845-F058-36DC-79E4-F6B95D8B75AA}"/>
          </ac:spMkLst>
        </pc:spChg>
        <pc:spChg chg="mod">
          <ac:chgData name="Fatma Alsagaf" userId="ef587b5e-378a-4bb3-aa9f-3c15b98138a4" providerId="ADAL" clId="{3F5618C8-8D5E-4E2B-8F0D-3AAFE622726E}" dt="2024-07-02T12:36:57.480" v="10913" actId="20577"/>
          <ac:spMkLst>
            <pc:docMk/>
            <pc:sldMk cId="2657307230" sldId="2147473105"/>
            <ac:spMk id="25" creationId="{7BF0F921-AF48-B76B-5F5F-32497DE21D6C}"/>
          </ac:spMkLst>
        </pc:spChg>
        <pc:spChg chg="mod">
          <ac:chgData name="Fatma Alsagaf" userId="ef587b5e-378a-4bb3-aa9f-3c15b98138a4" providerId="ADAL" clId="{3F5618C8-8D5E-4E2B-8F0D-3AAFE622726E}" dt="2024-07-02T12:36:59.888" v="10916" actId="20577"/>
          <ac:spMkLst>
            <pc:docMk/>
            <pc:sldMk cId="2657307230" sldId="2147473105"/>
            <ac:spMk id="26" creationId="{DD01B080-DEA0-03F5-CEDA-2CDBC4140684}"/>
          </ac:spMkLst>
        </pc:spChg>
        <pc:spChg chg="mod">
          <ac:chgData name="Fatma Alsagaf" userId="ef587b5e-378a-4bb3-aa9f-3c15b98138a4" providerId="ADAL" clId="{3F5618C8-8D5E-4E2B-8F0D-3AAFE622726E}" dt="2024-07-02T12:37:03.565" v="10919" actId="20577"/>
          <ac:spMkLst>
            <pc:docMk/>
            <pc:sldMk cId="2657307230" sldId="2147473105"/>
            <ac:spMk id="27" creationId="{9FF3CE60-CDE1-6B3B-1A5C-E5E71C80C7E9}"/>
          </ac:spMkLst>
        </pc:spChg>
        <pc:spChg chg="mod">
          <ac:chgData name="Fatma Alsagaf" userId="ef587b5e-378a-4bb3-aa9f-3c15b98138a4" providerId="ADAL" clId="{3F5618C8-8D5E-4E2B-8F0D-3AAFE622726E}" dt="2024-07-02T12:37:06.536" v="10922" actId="20577"/>
          <ac:spMkLst>
            <pc:docMk/>
            <pc:sldMk cId="2657307230" sldId="2147473105"/>
            <ac:spMk id="28" creationId="{B7042CD3-DADA-E172-BDC0-FBD4AAFA344D}"/>
          </ac:spMkLst>
        </pc:spChg>
        <pc:spChg chg="mod">
          <ac:chgData name="Fatma Alsagaf" userId="ef587b5e-378a-4bb3-aa9f-3c15b98138a4" providerId="ADAL" clId="{3F5618C8-8D5E-4E2B-8F0D-3AAFE622726E}" dt="2024-07-02T13:00:03.230" v="11377" actId="1076"/>
          <ac:spMkLst>
            <pc:docMk/>
            <pc:sldMk cId="2657307230" sldId="2147473105"/>
            <ac:spMk id="29" creationId="{6B382153-8B2B-127D-23A5-265DA7430E47}"/>
          </ac:spMkLst>
        </pc:spChg>
        <pc:spChg chg="add mod">
          <ac:chgData name="Fatma Alsagaf" userId="ef587b5e-378a-4bb3-aa9f-3c15b98138a4" providerId="ADAL" clId="{3F5618C8-8D5E-4E2B-8F0D-3AAFE622726E}" dt="2024-07-02T12:58:49.597" v="11366" actId="14100"/>
          <ac:spMkLst>
            <pc:docMk/>
            <pc:sldMk cId="2657307230" sldId="2147473105"/>
            <ac:spMk id="30" creationId="{BEE9FDDB-23BA-F098-94EF-A966E9049BA9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32" creationId="{2F7675CA-22D3-ECA9-4A46-E69DB62CAC40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33" creationId="{2E31E114-ACFF-4A58-229C-FB7552A9ACD2}"/>
          </ac:spMkLst>
        </pc:spChg>
        <pc:spChg chg="add mod">
          <ac:chgData name="Fatma Alsagaf" userId="ef587b5e-378a-4bb3-aa9f-3c15b98138a4" providerId="ADAL" clId="{3F5618C8-8D5E-4E2B-8F0D-3AAFE622726E}" dt="2024-07-02T12:58:52.510" v="11367" actId="14100"/>
          <ac:spMkLst>
            <pc:docMk/>
            <pc:sldMk cId="2657307230" sldId="2147473105"/>
            <ac:spMk id="34" creationId="{E5148231-D850-355E-B2F0-B41256D23D57}"/>
          </ac:spMkLst>
        </pc:spChg>
        <pc:spChg chg="add mod">
          <ac:chgData name="Fatma Alsagaf" userId="ef587b5e-378a-4bb3-aa9f-3c15b98138a4" providerId="ADAL" clId="{3F5618C8-8D5E-4E2B-8F0D-3AAFE622726E}" dt="2024-07-02T12:58:55.089" v="11368" actId="14100"/>
          <ac:spMkLst>
            <pc:docMk/>
            <pc:sldMk cId="2657307230" sldId="2147473105"/>
            <ac:spMk id="35" creationId="{CD64996F-094D-2A43-9FBC-C0D4262AE4AB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37" creationId="{77C182F9-4B26-CEB0-CEA3-C517F18E258C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38" creationId="{A25C74F6-B5CD-EF4F-7959-F0C9ACFB7F1C}"/>
          </ac:spMkLst>
        </pc:spChg>
        <pc:spChg chg="add mod">
          <ac:chgData name="Fatma Alsagaf" userId="ef587b5e-378a-4bb3-aa9f-3c15b98138a4" providerId="ADAL" clId="{3F5618C8-8D5E-4E2B-8F0D-3AAFE622726E}" dt="2024-07-02T12:58:57.760" v="11369" actId="14100"/>
          <ac:spMkLst>
            <pc:docMk/>
            <pc:sldMk cId="2657307230" sldId="2147473105"/>
            <ac:spMk id="39" creationId="{13D80049-A4C4-D3A1-A2AF-FBB15EEB1947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42" creationId="{49D4225A-899F-945B-1409-D830C78AECB6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43" creationId="{95D45BAC-C69A-A9CE-3CA4-62B0EDB65EBE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44" creationId="{83947820-1E29-B769-E30A-13C46BFA7EC1}"/>
          </ac:spMkLst>
        </pc:spChg>
        <pc:spChg chg="add del mod">
          <ac:chgData name="Fatma Alsagaf" userId="ef587b5e-378a-4bb3-aa9f-3c15b98138a4" providerId="ADAL" clId="{3F5618C8-8D5E-4E2B-8F0D-3AAFE622726E}" dt="2024-07-02T12:58:17.389" v="11363" actId="478"/>
          <ac:spMkLst>
            <pc:docMk/>
            <pc:sldMk cId="2657307230" sldId="2147473105"/>
            <ac:spMk id="45" creationId="{4FD7F8AC-AE67-BBC2-433E-CD686DCA26FB}"/>
          </ac:spMkLst>
        </pc:spChg>
        <pc:spChg chg="add del mod">
          <ac:chgData name="Fatma Alsagaf" userId="ef587b5e-378a-4bb3-aa9f-3c15b98138a4" providerId="ADAL" clId="{3F5618C8-8D5E-4E2B-8F0D-3AAFE622726E}" dt="2024-07-02T12:54:34.224" v="11288" actId="478"/>
          <ac:spMkLst>
            <pc:docMk/>
            <pc:sldMk cId="2657307230" sldId="2147473105"/>
            <ac:spMk id="46" creationId="{9A52D2A1-CAF6-2041-2A32-7B83E30969CB}"/>
          </ac:spMkLst>
        </pc:spChg>
        <pc:spChg chg="add mod">
          <ac:chgData name="Fatma Alsagaf" userId="ef587b5e-378a-4bb3-aa9f-3c15b98138a4" providerId="ADAL" clId="{3F5618C8-8D5E-4E2B-8F0D-3AAFE622726E}" dt="2024-07-02T12:58:40.999" v="11365" actId="1076"/>
          <ac:spMkLst>
            <pc:docMk/>
            <pc:sldMk cId="2657307230" sldId="2147473105"/>
            <ac:spMk id="47" creationId="{931B10FE-77F1-2E16-F2A9-BC920ACB32D7}"/>
          </ac:spMkLst>
        </pc:spChg>
        <pc:spChg chg="add mod">
          <ac:chgData name="Fatma Alsagaf" userId="ef587b5e-378a-4bb3-aa9f-3c15b98138a4" providerId="ADAL" clId="{3F5618C8-8D5E-4E2B-8F0D-3AAFE622726E}" dt="2024-07-02T12:58:40.999" v="11365" actId="1076"/>
          <ac:spMkLst>
            <pc:docMk/>
            <pc:sldMk cId="2657307230" sldId="2147473105"/>
            <ac:spMk id="48" creationId="{519E68DD-0B1D-D4B5-B274-F412B7F7660B}"/>
          </ac:spMkLst>
        </pc:spChg>
        <pc:spChg chg="add del mod">
          <ac:chgData name="Fatma Alsagaf" userId="ef587b5e-378a-4bb3-aa9f-3c15b98138a4" providerId="ADAL" clId="{3F5618C8-8D5E-4E2B-8F0D-3AAFE622726E}" dt="2024-07-02T12:57:49.163" v="11357" actId="478"/>
          <ac:spMkLst>
            <pc:docMk/>
            <pc:sldMk cId="2657307230" sldId="2147473105"/>
            <ac:spMk id="49" creationId="{04911A44-0F23-5F95-BC9C-CA62889DD87C}"/>
          </ac:spMkLst>
        </pc:spChg>
        <pc:spChg chg="add mod">
          <ac:chgData name="Fatma Alsagaf" userId="ef587b5e-378a-4bb3-aa9f-3c15b98138a4" providerId="ADAL" clId="{3F5618C8-8D5E-4E2B-8F0D-3AAFE622726E}" dt="2024-07-02T12:58:40.999" v="11365" actId="1076"/>
          <ac:spMkLst>
            <pc:docMk/>
            <pc:sldMk cId="2657307230" sldId="2147473105"/>
            <ac:spMk id="50" creationId="{A8D6D100-AF5D-4E7D-5812-8EBC08A3F80F}"/>
          </ac:spMkLst>
        </pc:spChg>
        <pc:spChg chg="add del mod">
          <ac:chgData name="Fatma Alsagaf" userId="ef587b5e-378a-4bb3-aa9f-3c15b98138a4" providerId="ADAL" clId="{3F5618C8-8D5E-4E2B-8F0D-3AAFE622726E}" dt="2024-07-02T12:58:17.389" v="11363" actId="478"/>
          <ac:spMkLst>
            <pc:docMk/>
            <pc:sldMk cId="2657307230" sldId="2147473105"/>
            <ac:spMk id="51" creationId="{E8F0431D-3429-68EC-3D72-88100C03DA36}"/>
          </ac:spMkLst>
        </pc:spChg>
        <pc:spChg chg="add del mod">
          <ac:chgData name="Fatma Alsagaf" userId="ef587b5e-378a-4bb3-aa9f-3c15b98138a4" providerId="ADAL" clId="{3F5618C8-8D5E-4E2B-8F0D-3AAFE622726E}" dt="2024-07-02T12:54:31.044" v="11287" actId="478"/>
          <ac:spMkLst>
            <pc:docMk/>
            <pc:sldMk cId="2657307230" sldId="2147473105"/>
            <ac:spMk id="52" creationId="{F653CEDB-9EC8-43B3-74E1-5E1D3919F47E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54" creationId="{312EDF15-8AE7-3078-EF3B-046A64F3DCED}"/>
          </ac:spMkLst>
        </pc:spChg>
        <pc:spChg chg="mod">
          <ac:chgData name="Fatma Alsagaf" userId="ef587b5e-378a-4bb3-aa9f-3c15b98138a4" providerId="ADAL" clId="{3F5618C8-8D5E-4E2B-8F0D-3AAFE622726E}" dt="2024-07-02T12:59:06.745" v="11370" actId="207"/>
          <ac:spMkLst>
            <pc:docMk/>
            <pc:sldMk cId="2657307230" sldId="2147473105"/>
            <ac:spMk id="55" creationId="{9F16C49E-95DD-1F52-D248-F2B7DBA07102}"/>
          </ac:spMkLst>
        </pc:spChg>
        <pc:spChg chg="mod">
          <ac:chgData name="Fatma Alsagaf" userId="ef587b5e-378a-4bb3-aa9f-3c15b98138a4" providerId="ADAL" clId="{3F5618C8-8D5E-4E2B-8F0D-3AAFE622726E}" dt="2024-07-02T12:33:14.565" v="10685"/>
          <ac:spMkLst>
            <pc:docMk/>
            <pc:sldMk cId="2657307230" sldId="2147473105"/>
            <ac:spMk id="58" creationId="{BDAB91F2-0A9D-0C00-06ED-BE15473A84F0}"/>
          </ac:spMkLst>
        </pc:spChg>
        <pc:spChg chg="mod">
          <ac:chgData name="Fatma Alsagaf" userId="ef587b5e-378a-4bb3-aa9f-3c15b98138a4" providerId="ADAL" clId="{3F5618C8-8D5E-4E2B-8F0D-3AAFE622726E}" dt="2024-07-02T12:33:14.565" v="10685"/>
          <ac:spMkLst>
            <pc:docMk/>
            <pc:sldMk cId="2657307230" sldId="2147473105"/>
            <ac:spMk id="59" creationId="{0DA50A26-DF03-5784-A811-8CAC5A3DFD3B}"/>
          </ac:spMkLst>
        </pc:spChg>
        <pc:spChg chg="mod">
          <ac:chgData name="Fatma Alsagaf" userId="ef587b5e-378a-4bb3-aa9f-3c15b98138a4" providerId="ADAL" clId="{3F5618C8-8D5E-4E2B-8F0D-3AAFE622726E}" dt="2024-07-02T12:33:14.565" v="10685"/>
          <ac:spMkLst>
            <pc:docMk/>
            <pc:sldMk cId="2657307230" sldId="2147473105"/>
            <ac:spMk id="60" creationId="{635D08C6-1168-26A9-9DFF-97C62AC83CE3}"/>
          </ac:spMkLst>
        </pc:spChg>
        <pc:spChg chg="mod">
          <ac:chgData name="Fatma Alsagaf" userId="ef587b5e-378a-4bb3-aa9f-3c15b98138a4" providerId="ADAL" clId="{3F5618C8-8D5E-4E2B-8F0D-3AAFE622726E}" dt="2024-07-02T12:33:14.565" v="10685"/>
          <ac:spMkLst>
            <pc:docMk/>
            <pc:sldMk cId="2657307230" sldId="2147473105"/>
            <ac:spMk id="63" creationId="{32D8040A-398F-F806-87EB-DBF1F985F52E}"/>
          </ac:spMkLst>
        </pc:spChg>
        <pc:spChg chg="mod">
          <ac:chgData name="Fatma Alsagaf" userId="ef587b5e-378a-4bb3-aa9f-3c15b98138a4" providerId="ADAL" clId="{3F5618C8-8D5E-4E2B-8F0D-3AAFE622726E}" dt="2024-07-02T12:33:14.565" v="10685"/>
          <ac:spMkLst>
            <pc:docMk/>
            <pc:sldMk cId="2657307230" sldId="2147473105"/>
            <ac:spMk id="64" creationId="{BCC8EEF2-D6ED-BDB8-F724-4FE52B2B4E80}"/>
          </ac:spMkLst>
        </pc:spChg>
        <pc:spChg chg="mod">
          <ac:chgData name="Fatma Alsagaf" userId="ef587b5e-378a-4bb3-aa9f-3c15b98138a4" providerId="ADAL" clId="{3F5618C8-8D5E-4E2B-8F0D-3AAFE622726E}" dt="2024-07-02T12:33:14.565" v="10685"/>
          <ac:spMkLst>
            <pc:docMk/>
            <pc:sldMk cId="2657307230" sldId="2147473105"/>
            <ac:spMk id="65" creationId="{CD7B5E8D-F15C-C008-0C48-22DAC0B357EA}"/>
          </ac:spMkLst>
        </pc:spChg>
        <pc:spChg chg="add del mod">
          <ac:chgData name="Fatma Alsagaf" userId="ef587b5e-378a-4bb3-aa9f-3c15b98138a4" providerId="ADAL" clId="{3F5618C8-8D5E-4E2B-8F0D-3AAFE622726E}" dt="2024-07-02T12:35:39.211" v="10851" actId="478"/>
          <ac:spMkLst>
            <pc:docMk/>
            <pc:sldMk cId="2657307230" sldId="2147473105"/>
            <ac:spMk id="66" creationId="{426D24CB-C2BF-540A-547F-9F8949551067}"/>
          </ac:spMkLst>
        </pc:spChg>
        <pc:spChg chg="add del mod">
          <ac:chgData name="Fatma Alsagaf" userId="ef587b5e-378a-4bb3-aa9f-3c15b98138a4" providerId="ADAL" clId="{3F5618C8-8D5E-4E2B-8F0D-3AAFE622726E}" dt="2024-07-02T12:43:09.882" v="11063" actId="478"/>
          <ac:spMkLst>
            <pc:docMk/>
            <pc:sldMk cId="2657307230" sldId="2147473105"/>
            <ac:spMk id="69" creationId="{E8E90C4C-ABCC-F5B6-0E1A-E0A2915DD708}"/>
          </ac:spMkLst>
        </pc:spChg>
        <pc:spChg chg="add mod">
          <ac:chgData name="Fatma Alsagaf" userId="ef587b5e-378a-4bb3-aa9f-3c15b98138a4" providerId="ADAL" clId="{3F5618C8-8D5E-4E2B-8F0D-3AAFE622726E}" dt="2024-07-02T12:43:14.156" v="11064" actId="1076"/>
          <ac:spMkLst>
            <pc:docMk/>
            <pc:sldMk cId="2657307230" sldId="2147473105"/>
            <ac:spMk id="71" creationId="{055C8737-B5A2-7627-2E92-9199439B1C71}"/>
          </ac:spMkLst>
        </pc:spChg>
        <pc:spChg chg="add mod">
          <ac:chgData name="Fatma Alsagaf" userId="ef587b5e-378a-4bb3-aa9f-3c15b98138a4" providerId="ADAL" clId="{3F5618C8-8D5E-4E2B-8F0D-3AAFE622726E}" dt="2024-07-02T12:59:59.201" v="11376" actId="1076"/>
          <ac:spMkLst>
            <pc:docMk/>
            <pc:sldMk cId="2657307230" sldId="2147473105"/>
            <ac:spMk id="73" creationId="{2E871EBC-9166-22B4-0805-BF7CE374B0F4}"/>
          </ac:spMkLst>
        </pc:spChg>
        <pc:spChg chg="add mod">
          <ac:chgData name="Fatma Alsagaf" userId="ef587b5e-378a-4bb3-aa9f-3c15b98138a4" providerId="ADAL" clId="{3F5618C8-8D5E-4E2B-8F0D-3AAFE622726E}" dt="2024-07-02T12:58:40.999" v="11365" actId="1076"/>
          <ac:spMkLst>
            <pc:docMk/>
            <pc:sldMk cId="2657307230" sldId="2147473105"/>
            <ac:spMk id="75" creationId="{9DDDCF67-379B-9A97-1EFA-551F01E64748}"/>
          </ac:spMkLst>
        </pc:spChg>
        <pc:spChg chg="add mod">
          <ac:chgData name="Fatma Alsagaf" userId="ef587b5e-378a-4bb3-aa9f-3c15b98138a4" providerId="ADAL" clId="{3F5618C8-8D5E-4E2B-8F0D-3AAFE622726E}" dt="2024-07-02T13:01:59.941" v="11387" actId="20577"/>
          <ac:spMkLst>
            <pc:docMk/>
            <pc:sldMk cId="2657307230" sldId="2147473105"/>
            <ac:spMk id="77" creationId="{E5F58BAA-09F5-DAA8-118A-080D93C03F75}"/>
          </ac:spMkLst>
        </pc:spChg>
        <pc:spChg chg="add mod">
          <ac:chgData name="Fatma Alsagaf" userId="ef587b5e-378a-4bb3-aa9f-3c15b98138a4" providerId="ADAL" clId="{3F5618C8-8D5E-4E2B-8F0D-3AAFE622726E}" dt="2024-07-02T13:02:03.618" v="11391" actId="20577"/>
          <ac:spMkLst>
            <pc:docMk/>
            <pc:sldMk cId="2657307230" sldId="2147473105"/>
            <ac:spMk id="79" creationId="{64EC2EE6-016B-447A-9954-EF5C47ECAC40}"/>
          </ac:spMkLst>
        </pc:spChg>
        <pc:spChg chg="add mod">
          <ac:chgData name="Fatma Alsagaf" userId="ef587b5e-378a-4bb3-aa9f-3c15b98138a4" providerId="ADAL" clId="{3F5618C8-8D5E-4E2B-8F0D-3AAFE622726E}" dt="2024-07-02T13:02:34.553" v="11402" actId="20577"/>
          <ac:spMkLst>
            <pc:docMk/>
            <pc:sldMk cId="2657307230" sldId="2147473105"/>
            <ac:spMk id="81" creationId="{4A3FF1BC-62B5-1F07-2882-149E64E504EC}"/>
          </ac:spMkLst>
        </pc:spChg>
        <pc:grpChg chg="add mod">
          <ac:chgData name="Fatma Alsagaf" userId="ef587b5e-378a-4bb3-aa9f-3c15b98138a4" providerId="ADAL" clId="{3F5618C8-8D5E-4E2B-8F0D-3AAFE622726E}" dt="2024-07-02T12:56:46.763" v="11317" actId="164"/>
          <ac:grpSpMkLst>
            <pc:docMk/>
            <pc:sldMk cId="2657307230" sldId="2147473105"/>
            <ac:grpSpMk id="8" creationId="{CF8FD953-939F-BAF2-C51B-23B14709FF12}"/>
          </ac:grpSpMkLst>
        </pc:grpChg>
        <pc:grpChg chg="add mod">
          <ac:chgData name="Fatma Alsagaf" userId="ef587b5e-378a-4bb3-aa9f-3c15b98138a4" providerId="ADAL" clId="{3F5618C8-8D5E-4E2B-8F0D-3AAFE622726E}" dt="2024-07-02T13:03:00.349" v="11403" actId="1076"/>
          <ac:grpSpMkLst>
            <pc:docMk/>
            <pc:sldMk cId="2657307230" sldId="2147473105"/>
            <ac:grpSpMk id="31" creationId="{A36DDB96-4B45-13D1-24AC-996D43D2B619}"/>
          </ac:grpSpMkLst>
        </pc:grpChg>
        <pc:grpChg chg="add mod">
          <ac:chgData name="Fatma Alsagaf" userId="ef587b5e-378a-4bb3-aa9f-3c15b98138a4" providerId="ADAL" clId="{3F5618C8-8D5E-4E2B-8F0D-3AAFE622726E}" dt="2024-07-02T13:03:14.240" v="11404" actId="1076"/>
          <ac:grpSpMkLst>
            <pc:docMk/>
            <pc:sldMk cId="2657307230" sldId="2147473105"/>
            <ac:grpSpMk id="36" creationId="{FD63DEA8-11B2-F74A-6774-A8ABEFA14408}"/>
          </ac:grpSpMkLst>
        </pc:grpChg>
        <pc:grpChg chg="add mod">
          <ac:chgData name="Fatma Alsagaf" userId="ef587b5e-378a-4bb3-aa9f-3c15b98138a4" providerId="ADAL" clId="{3F5618C8-8D5E-4E2B-8F0D-3AAFE622726E}" dt="2024-07-02T13:03:32.926" v="11405" actId="1076"/>
          <ac:grpSpMkLst>
            <pc:docMk/>
            <pc:sldMk cId="2657307230" sldId="2147473105"/>
            <ac:grpSpMk id="40" creationId="{53B3480D-2921-6CFC-79C7-683939D5493A}"/>
          </ac:grpSpMkLst>
        </pc:grpChg>
        <pc:grpChg chg="mod">
          <ac:chgData name="Fatma Alsagaf" userId="ef587b5e-378a-4bb3-aa9f-3c15b98138a4" providerId="ADAL" clId="{3F5618C8-8D5E-4E2B-8F0D-3AAFE622726E}" dt="2024-07-02T12:59:06.745" v="11370" actId="207"/>
          <ac:grpSpMkLst>
            <pc:docMk/>
            <pc:sldMk cId="2657307230" sldId="2147473105"/>
            <ac:grpSpMk id="41" creationId="{3F423C43-3079-1266-D546-1C2F4B749A78}"/>
          </ac:grpSpMkLst>
        </pc:grpChg>
        <pc:grpChg chg="add mod">
          <ac:chgData name="Fatma Alsagaf" userId="ef587b5e-378a-4bb3-aa9f-3c15b98138a4" providerId="ADAL" clId="{3F5618C8-8D5E-4E2B-8F0D-3AAFE622726E}" dt="2024-07-02T12:59:42.399" v="11372" actId="1076"/>
          <ac:grpSpMkLst>
            <pc:docMk/>
            <pc:sldMk cId="2657307230" sldId="2147473105"/>
            <ac:grpSpMk id="53" creationId="{F05454AB-F83B-8BD5-8641-5598E20FC541}"/>
          </ac:grpSpMkLst>
        </pc:grpChg>
        <pc:grpChg chg="add del mod">
          <ac:chgData name="Fatma Alsagaf" userId="ef587b5e-378a-4bb3-aa9f-3c15b98138a4" providerId="ADAL" clId="{3F5618C8-8D5E-4E2B-8F0D-3AAFE622726E}" dt="2024-07-02T12:58:17.389" v="11363" actId="478"/>
          <ac:grpSpMkLst>
            <pc:docMk/>
            <pc:sldMk cId="2657307230" sldId="2147473105"/>
            <ac:grpSpMk id="56" creationId="{479D7A41-8172-C242-15A4-06F1F6165512}"/>
          </ac:grpSpMkLst>
        </pc:grpChg>
        <pc:grpChg chg="mod">
          <ac:chgData name="Fatma Alsagaf" userId="ef587b5e-378a-4bb3-aa9f-3c15b98138a4" providerId="ADAL" clId="{3F5618C8-8D5E-4E2B-8F0D-3AAFE622726E}" dt="2024-07-02T12:33:14.565" v="10685"/>
          <ac:grpSpMkLst>
            <pc:docMk/>
            <pc:sldMk cId="2657307230" sldId="2147473105"/>
            <ac:grpSpMk id="57" creationId="{296F58CF-4920-35E5-5E32-19621C93E00E}"/>
          </ac:grpSpMkLst>
        </pc:grpChg>
        <pc:grpChg chg="add del mod">
          <ac:chgData name="Fatma Alsagaf" userId="ef587b5e-378a-4bb3-aa9f-3c15b98138a4" providerId="ADAL" clId="{3F5618C8-8D5E-4E2B-8F0D-3AAFE622726E}" dt="2024-07-02T12:54:34.224" v="11288" actId="478"/>
          <ac:grpSpMkLst>
            <pc:docMk/>
            <pc:sldMk cId="2657307230" sldId="2147473105"/>
            <ac:grpSpMk id="61" creationId="{03E010FC-F57E-41B1-29A3-168EDFF83A26}"/>
          </ac:grpSpMkLst>
        </pc:grpChg>
        <pc:grpChg chg="mod">
          <ac:chgData name="Fatma Alsagaf" userId="ef587b5e-378a-4bb3-aa9f-3c15b98138a4" providerId="ADAL" clId="{3F5618C8-8D5E-4E2B-8F0D-3AAFE622726E}" dt="2024-07-02T12:33:14.565" v="10685"/>
          <ac:grpSpMkLst>
            <pc:docMk/>
            <pc:sldMk cId="2657307230" sldId="2147473105"/>
            <ac:grpSpMk id="62" creationId="{444875FD-CEA1-828A-FAE0-C1EBB960983F}"/>
          </ac:grpSpMkLst>
        </pc:grpChg>
        <pc:grpChg chg="add mod">
          <ac:chgData name="Fatma Alsagaf" userId="ef587b5e-378a-4bb3-aa9f-3c15b98138a4" providerId="ADAL" clId="{3F5618C8-8D5E-4E2B-8F0D-3AAFE622726E}" dt="2024-07-02T12:58:40.999" v="11365" actId="1076"/>
          <ac:grpSpMkLst>
            <pc:docMk/>
            <pc:sldMk cId="2657307230" sldId="2147473105"/>
            <ac:grpSpMk id="74" creationId="{6DEE2229-2E3D-076F-7101-A401D74C14C5}"/>
          </ac:grpSpMkLst>
        </pc:grpChg>
        <pc:picChg chg="add del mod">
          <ac:chgData name="Fatma Alsagaf" userId="ef587b5e-378a-4bb3-aa9f-3c15b98138a4" providerId="ADAL" clId="{3F5618C8-8D5E-4E2B-8F0D-3AAFE622726E}" dt="2024-07-02T12:32:59.619" v="10684"/>
          <ac:picMkLst>
            <pc:docMk/>
            <pc:sldMk cId="2657307230" sldId="2147473105"/>
            <ac:picMk id="4" creationId="{EBA265B8-470B-2306-C37A-821B246BB02B}"/>
          </ac:picMkLst>
        </pc:picChg>
        <pc:picChg chg="add del mod">
          <ac:chgData name="Fatma Alsagaf" userId="ef587b5e-378a-4bb3-aa9f-3c15b98138a4" providerId="ADAL" clId="{3F5618C8-8D5E-4E2B-8F0D-3AAFE622726E}" dt="2024-07-02T12:33:19.189" v="10686" actId="478"/>
          <ac:picMkLst>
            <pc:docMk/>
            <pc:sldMk cId="2657307230" sldId="2147473105"/>
            <ac:picMk id="5" creationId="{6E091952-98CF-16D7-9216-96361D2D094E}"/>
          </ac:picMkLst>
        </pc:picChg>
        <pc:picChg chg="add del mod">
          <ac:chgData name="Fatma Alsagaf" userId="ef587b5e-378a-4bb3-aa9f-3c15b98138a4" providerId="ADAL" clId="{3F5618C8-8D5E-4E2B-8F0D-3AAFE622726E}" dt="2024-07-02T12:35:20.318" v="10818" actId="478"/>
          <ac:picMkLst>
            <pc:docMk/>
            <pc:sldMk cId="2657307230" sldId="2147473105"/>
            <ac:picMk id="6" creationId="{7A9164FE-8048-C70C-ED26-F89D245DE046}"/>
          </ac:picMkLst>
        </pc:pic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9" creationId="{B7EAAFE4-3A12-B6EA-5C5F-18748E030226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0" creationId="{2F450BAD-10BD-4463-5541-42E1B4C1F9FE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1" creationId="{7B7B4167-2C45-1DC7-915D-4F5EE7A2ED97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2" creationId="{1D162E2E-DAA6-CF78-3E31-48CE8AF54395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3" creationId="{BCCAB9C5-2078-0BC8-AFFD-8C01F9266517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4" creationId="{839C7923-39C7-3AD5-E5E6-20118B4B5AAC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5" creationId="{0A636CD4-587F-0799-B730-8F289B15252E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6" creationId="{728131BC-D8E9-1009-6886-2143D79B62E7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7" creationId="{2D2C071C-E28C-14F2-64EF-2C022FA3CB6A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8" creationId="{753A6362-E10F-52E8-3E9B-E66B9303D33F}"/>
          </ac:cxnSpMkLst>
        </pc:cxnChg>
        <pc:cxnChg chg="mod">
          <ac:chgData name="Fatma Alsagaf" userId="ef587b5e-378a-4bb3-aa9f-3c15b98138a4" providerId="ADAL" clId="{3F5618C8-8D5E-4E2B-8F0D-3AAFE622726E}" dt="2024-07-02T12:33:14.565" v="10685"/>
          <ac:cxnSpMkLst>
            <pc:docMk/>
            <pc:sldMk cId="2657307230" sldId="2147473105"/>
            <ac:cxnSpMk id="19" creationId="{D1A902AE-0B01-5D00-0A75-AC4D73DB0EA7}"/>
          </ac:cxnSpMkLst>
        </pc:cxnChg>
        <pc:cxnChg chg="add del mod">
          <ac:chgData name="Fatma Alsagaf" userId="ef587b5e-378a-4bb3-aa9f-3c15b98138a4" providerId="ADAL" clId="{3F5618C8-8D5E-4E2B-8F0D-3AAFE622726E}" dt="2024-07-02T12:35:30.476" v="10849" actId="478"/>
          <ac:cxnSpMkLst>
            <pc:docMk/>
            <pc:sldMk cId="2657307230" sldId="2147473105"/>
            <ac:cxnSpMk id="67" creationId="{EFA4700E-FFB0-DD30-E401-855A6DD81925}"/>
          </ac:cxnSpMkLst>
        </pc:cxnChg>
        <pc:cxnChg chg="add mod">
          <ac:chgData name="Fatma Alsagaf" userId="ef587b5e-378a-4bb3-aa9f-3c15b98138a4" providerId="ADAL" clId="{3F5618C8-8D5E-4E2B-8F0D-3AAFE622726E}" dt="2024-07-02T12:56:46.763" v="11317" actId="164"/>
          <ac:cxnSpMkLst>
            <pc:docMk/>
            <pc:sldMk cId="2657307230" sldId="2147473105"/>
            <ac:cxnSpMk id="72" creationId="{CF13AE07-0590-BB1B-62BB-E16BE63FF01A}"/>
          </ac:cxnSpMkLst>
        </pc:cxnChg>
        <pc:cxnChg chg="add mod">
          <ac:chgData name="Fatma Alsagaf" userId="ef587b5e-378a-4bb3-aa9f-3c15b98138a4" providerId="ADAL" clId="{3F5618C8-8D5E-4E2B-8F0D-3AAFE622726E}" dt="2024-07-02T13:00:50.201" v="11381" actId="1076"/>
          <ac:cxnSpMkLst>
            <pc:docMk/>
            <pc:sldMk cId="2657307230" sldId="2147473105"/>
            <ac:cxnSpMk id="76" creationId="{EDFBEEC6-4DD6-01D6-0A0A-A1599D38C7D3}"/>
          </ac:cxnSpMkLst>
        </pc:cxnChg>
        <pc:cxnChg chg="add mod">
          <ac:chgData name="Fatma Alsagaf" userId="ef587b5e-378a-4bb3-aa9f-3c15b98138a4" providerId="ADAL" clId="{3F5618C8-8D5E-4E2B-8F0D-3AAFE622726E}" dt="2024-07-02T13:01:54.504" v="11383" actId="1076"/>
          <ac:cxnSpMkLst>
            <pc:docMk/>
            <pc:sldMk cId="2657307230" sldId="2147473105"/>
            <ac:cxnSpMk id="78" creationId="{8143B27C-4C0B-4246-44F9-2F4D3B80F583}"/>
          </ac:cxnSpMkLst>
        </pc:cxnChg>
        <pc:cxnChg chg="add mod">
          <ac:chgData name="Fatma Alsagaf" userId="ef587b5e-378a-4bb3-aa9f-3c15b98138a4" providerId="ADAL" clId="{3F5618C8-8D5E-4E2B-8F0D-3AAFE622726E}" dt="2024-07-02T13:02:29.676" v="11393" actId="1076"/>
          <ac:cxnSpMkLst>
            <pc:docMk/>
            <pc:sldMk cId="2657307230" sldId="2147473105"/>
            <ac:cxnSpMk id="80" creationId="{CF8B9D1E-D29C-1A4E-6E78-32CC08E2FC9B}"/>
          </ac:cxnSpMkLst>
        </pc:cxnChg>
      </pc:sldChg>
      <pc:sldChg chg="add del">
        <pc:chgData name="Fatma Alsagaf" userId="ef587b5e-378a-4bb3-aa9f-3c15b98138a4" providerId="ADAL" clId="{3F5618C8-8D5E-4E2B-8F0D-3AAFE622726E}" dt="2024-06-24T06:23:29.686" v="7781" actId="47"/>
        <pc:sldMkLst>
          <pc:docMk/>
          <pc:sldMk cId="2722441409" sldId="2147473105"/>
        </pc:sldMkLst>
      </pc:sldChg>
      <pc:sldChg chg="addSp delSp modSp new add del mod">
        <pc:chgData name="Fatma Alsagaf" userId="ef587b5e-378a-4bb3-aa9f-3c15b98138a4" providerId="ADAL" clId="{3F5618C8-8D5E-4E2B-8F0D-3AAFE622726E}" dt="2024-06-26T13:57:26.394" v="10029" actId="47"/>
        <pc:sldMkLst>
          <pc:docMk/>
          <pc:sldMk cId="3437225433" sldId="2147473105"/>
        </pc:sldMkLst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3" creationId="{6BD4993E-A7C4-52EA-86A8-72525D4901B2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4" creationId="{882E534C-DB84-3623-03E5-324EEB0E7071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5" creationId="{9979AC67-4792-1DA6-EDB9-165E4A6CDF63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6" creationId="{91E10A75-0923-FA6A-B926-AE2B7837D16B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7" creationId="{10FF1915-C216-FDA7-B5F1-C9829C127EF2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8" creationId="{E645E528-1205-E3D7-13BA-7440BF1E02F0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9" creationId="{4FD3C9D2-8B08-4632-B2C8-332E0C19BEB6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10" creationId="{28FD1056-11AD-857B-0511-131CF0DA2935}"/>
          </ac:spMkLst>
        </pc:spChg>
        <pc:spChg chg="add del mod">
          <ac:chgData name="Fatma Alsagaf" userId="ef587b5e-378a-4bb3-aa9f-3c15b98138a4" providerId="ADAL" clId="{3F5618C8-8D5E-4E2B-8F0D-3AAFE622726E}" dt="2024-06-26T11:29:11.283" v="9548"/>
          <ac:spMkLst>
            <pc:docMk/>
            <pc:sldMk cId="3437225433" sldId="2147473105"/>
            <ac:spMk id="11" creationId="{537825AB-7344-F1F6-7679-817376DF5C5C}"/>
          </ac:spMkLst>
        </pc:spChg>
        <pc:spChg chg="mod">
          <ac:chgData name="Fatma Alsagaf" userId="ef587b5e-378a-4bb3-aa9f-3c15b98138a4" providerId="ADAL" clId="{3F5618C8-8D5E-4E2B-8F0D-3AAFE622726E}" dt="2024-06-26T11:29:08.922" v="9547"/>
          <ac:spMkLst>
            <pc:docMk/>
            <pc:sldMk cId="3437225433" sldId="2147473105"/>
            <ac:spMk id="13" creationId="{9FCE284B-079C-45D1-B871-AD61252FB9AE}"/>
          </ac:spMkLst>
        </pc:spChg>
        <pc:spChg chg="mod">
          <ac:chgData name="Fatma Alsagaf" userId="ef587b5e-378a-4bb3-aa9f-3c15b98138a4" providerId="ADAL" clId="{3F5618C8-8D5E-4E2B-8F0D-3AAFE622726E}" dt="2024-06-26T11:29:08.922" v="9547"/>
          <ac:spMkLst>
            <pc:docMk/>
            <pc:sldMk cId="3437225433" sldId="2147473105"/>
            <ac:spMk id="14" creationId="{FCAC898C-401B-D281-B554-CB5C7996C5BF}"/>
          </ac:spMkLst>
        </pc:spChg>
        <pc:spChg chg="mod">
          <ac:chgData name="Fatma Alsagaf" userId="ef587b5e-378a-4bb3-aa9f-3c15b98138a4" providerId="ADAL" clId="{3F5618C8-8D5E-4E2B-8F0D-3AAFE622726E}" dt="2024-06-26T11:29:08.922" v="9547"/>
          <ac:spMkLst>
            <pc:docMk/>
            <pc:sldMk cId="3437225433" sldId="2147473105"/>
            <ac:spMk id="15" creationId="{F6833C39-2294-842E-3A3A-BFB219AA47F9}"/>
          </ac:spMkLst>
        </pc:spChg>
        <pc:spChg chg="mod">
          <ac:chgData name="Fatma Alsagaf" userId="ef587b5e-378a-4bb3-aa9f-3c15b98138a4" providerId="ADAL" clId="{3F5618C8-8D5E-4E2B-8F0D-3AAFE622726E}" dt="2024-06-26T11:29:08.922" v="9547"/>
          <ac:spMkLst>
            <pc:docMk/>
            <pc:sldMk cId="3437225433" sldId="2147473105"/>
            <ac:spMk id="16" creationId="{1833F25C-1662-3BCF-D317-3CB44D320EB5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17" creationId="{56F6795F-4D9C-16F5-339A-99EE8477711E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18" creationId="{BDD934CD-6462-EAB6-7012-9356CE45500C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19" creationId="{AE6E9AB4-B2F3-DA86-4045-755316FB8404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20" creationId="{64977707-0BD9-9014-79A4-15D6638D89BD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21" creationId="{C9F97451-2977-8822-4315-3BB93A2D804D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22" creationId="{D40808C2-381E-5EE2-D612-61C195E931E0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23" creationId="{CB8B8740-D4E3-EAD0-05EE-3004B5973453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24" creationId="{C37331AA-AF3C-FB53-7BC1-C48ED18B34C0}"/>
          </ac:spMkLst>
        </pc:spChg>
        <pc:spChg chg="add del mod">
          <ac:chgData name="Fatma Alsagaf" userId="ef587b5e-378a-4bb3-aa9f-3c15b98138a4" providerId="ADAL" clId="{3F5618C8-8D5E-4E2B-8F0D-3AAFE622726E}" dt="2024-06-26T11:29:13.565" v="9550"/>
          <ac:spMkLst>
            <pc:docMk/>
            <pc:sldMk cId="3437225433" sldId="2147473105"/>
            <ac:spMk id="25" creationId="{033E36C8-0ABA-1833-782F-1E8599320B16}"/>
          </ac:spMkLst>
        </pc:spChg>
        <pc:spChg chg="mod">
          <ac:chgData name="Fatma Alsagaf" userId="ef587b5e-378a-4bb3-aa9f-3c15b98138a4" providerId="ADAL" clId="{3F5618C8-8D5E-4E2B-8F0D-3AAFE622726E}" dt="2024-06-26T11:29:11.299" v="9549"/>
          <ac:spMkLst>
            <pc:docMk/>
            <pc:sldMk cId="3437225433" sldId="2147473105"/>
            <ac:spMk id="27" creationId="{AB5485D9-C62E-1D72-0FDE-A836CF0ECC93}"/>
          </ac:spMkLst>
        </pc:spChg>
        <pc:spChg chg="mod">
          <ac:chgData name="Fatma Alsagaf" userId="ef587b5e-378a-4bb3-aa9f-3c15b98138a4" providerId="ADAL" clId="{3F5618C8-8D5E-4E2B-8F0D-3AAFE622726E}" dt="2024-06-26T11:29:11.299" v="9549"/>
          <ac:spMkLst>
            <pc:docMk/>
            <pc:sldMk cId="3437225433" sldId="2147473105"/>
            <ac:spMk id="28" creationId="{5183E47B-8C67-C08B-21CF-5312AF13D6D8}"/>
          </ac:spMkLst>
        </pc:spChg>
        <pc:spChg chg="mod">
          <ac:chgData name="Fatma Alsagaf" userId="ef587b5e-378a-4bb3-aa9f-3c15b98138a4" providerId="ADAL" clId="{3F5618C8-8D5E-4E2B-8F0D-3AAFE622726E}" dt="2024-06-26T11:29:11.299" v="9549"/>
          <ac:spMkLst>
            <pc:docMk/>
            <pc:sldMk cId="3437225433" sldId="2147473105"/>
            <ac:spMk id="29" creationId="{0900553F-CB09-4B7B-59CF-4ADB86C677CF}"/>
          </ac:spMkLst>
        </pc:spChg>
        <pc:spChg chg="mod">
          <ac:chgData name="Fatma Alsagaf" userId="ef587b5e-378a-4bb3-aa9f-3c15b98138a4" providerId="ADAL" clId="{3F5618C8-8D5E-4E2B-8F0D-3AAFE622726E}" dt="2024-06-26T11:29:11.299" v="9549"/>
          <ac:spMkLst>
            <pc:docMk/>
            <pc:sldMk cId="3437225433" sldId="2147473105"/>
            <ac:spMk id="30" creationId="{7CC40CE8-9163-2579-3C44-D833FD596108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1" creationId="{43D70321-2BBF-1C1B-0392-AEA6B57C2834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2" creationId="{A0FE6AF0-671F-9E2C-1F64-DA1A158A0C34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3" creationId="{458DD989-839A-5BF2-C242-8D2FBF434B54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4" creationId="{791B567F-5A49-AA07-B41B-5846E05ADEA0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5" creationId="{F7C8C743-65E4-13E8-B6B6-0BD36573262D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6" creationId="{906DE27B-E5ED-0C78-95F4-696F4FD920F2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7" creationId="{FB22EE35-F042-C46E-4719-572544635DB5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8" creationId="{ECCF9A51-BF13-4A1E-6D6A-C29C7DFBE948}"/>
          </ac:spMkLst>
        </pc:spChg>
        <pc:spChg chg="add del mod">
          <ac:chgData name="Fatma Alsagaf" userId="ef587b5e-378a-4bb3-aa9f-3c15b98138a4" providerId="ADAL" clId="{3F5618C8-8D5E-4E2B-8F0D-3AAFE622726E}" dt="2024-06-26T11:29:14.772" v="9552"/>
          <ac:spMkLst>
            <pc:docMk/>
            <pc:sldMk cId="3437225433" sldId="2147473105"/>
            <ac:spMk id="39" creationId="{DBB5DCE3-FDD8-9CFC-1E65-0B6D9E3E28D8}"/>
          </ac:spMkLst>
        </pc:spChg>
        <pc:spChg chg="mod">
          <ac:chgData name="Fatma Alsagaf" userId="ef587b5e-378a-4bb3-aa9f-3c15b98138a4" providerId="ADAL" clId="{3F5618C8-8D5E-4E2B-8F0D-3AAFE622726E}" dt="2024-06-26T11:29:13.568" v="9551"/>
          <ac:spMkLst>
            <pc:docMk/>
            <pc:sldMk cId="3437225433" sldId="2147473105"/>
            <ac:spMk id="41" creationId="{AFEE095A-4B26-4DCD-8666-E49BCDD7E38D}"/>
          </ac:spMkLst>
        </pc:spChg>
        <pc:spChg chg="mod">
          <ac:chgData name="Fatma Alsagaf" userId="ef587b5e-378a-4bb3-aa9f-3c15b98138a4" providerId="ADAL" clId="{3F5618C8-8D5E-4E2B-8F0D-3AAFE622726E}" dt="2024-06-26T11:29:13.568" v="9551"/>
          <ac:spMkLst>
            <pc:docMk/>
            <pc:sldMk cId="3437225433" sldId="2147473105"/>
            <ac:spMk id="42" creationId="{D3994F6A-C814-1FB2-8370-2F50B845767A}"/>
          </ac:spMkLst>
        </pc:spChg>
        <pc:spChg chg="mod">
          <ac:chgData name="Fatma Alsagaf" userId="ef587b5e-378a-4bb3-aa9f-3c15b98138a4" providerId="ADAL" clId="{3F5618C8-8D5E-4E2B-8F0D-3AAFE622726E}" dt="2024-06-26T11:29:13.568" v="9551"/>
          <ac:spMkLst>
            <pc:docMk/>
            <pc:sldMk cId="3437225433" sldId="2147473105"/>
            <ac:spMk id="43" creationId="{62BDEE5D-113B-45F3-91F3-30F6D29738F1}"/>
          </ac:spMkLst>
        </pc:spChg>
        <pc:spChg chg="mod">
          <ac:chgData name="Fatma Alsagaf" userId="ef587b5e-378a-4bb3-aa9f-3c15b98138a4" providerId="ADAL" clId="{3F5618C8-8D5E-4E2B-8F0D-3AAFE622726E}" dt="2024-06-26T11:29:13.568" v="9551"/>
          <ac:spMkLst>
            <pc:docMk/>
            <pc:sldMk cId="3437225433" sldId="2147473105"/>
            <ac:spMk id="44" creationId="{16624686-F095-2F54-4088-CCDE8FEC09F7}"/>
          </ac:spMkLst>
        </pc:spChg>
        <pc:spChg chg="add mod">
          <ac:chgData name="Fatma Alsagaf" userId="ef587b5e-378a-4bb3-aa9f-3c15b98138a4" providerId="ADAL" clId="{3F5618C8-8D5E-4E2B-8F0D-3AAFE622726E}" dt="2024-06-26T11:31:44.704" v="9686" actId="14100"/>
          <ac:spMkLst>
            <pc:docMk/>
            <pc:sldMk cId="3437225433" sldId="2147473105"/>
            <ac:spMk id="45" creationId="{F68E8FBE-1B10-C1CC-584C-974262CD7444}"/>
          </ac:spMkLst>
        </pc:spChg>
        <pc:spChg chg="add 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46" creationId="{BBA6D3E1-6D60-338D-7832-FC19F61F2E55}"/>
          </ac:spMkLst>
        </pc:spChg>
        <pc:spChg chg="add 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47" creationId="{C4CFF0C1-3AE1-554F-C51E-9CC41056E660}"/>
          </ac:spMkLst>
        </pc:spChg>
        <pc:spChg chg="add 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48" creationId="{3BB931A8-AB7A-5E39-4268-F53039E17B8B}"/>
          </ac:spMkLst>
        </pc:spChg>
        <pc:spChg chg="add mod">
          <ac:chgData name="Fatma Alsagaf" userId="ef587b5e-378a-4bb3-aa9f-3c15b98138a4" providerId="ADAL" clId="{3F5618C8-8D5E-4E2B-8F0D-3AAFE622726E}" dt="2024-06-26T11:30:18.541" v="9569" actId="20577"/>
          <ac:spMkLst>
            <pc:docMk/>
            <pc:sldMk cId="3437225433" sldId="2147473105"/>
            <ac:spMk id="49" creationId="{A6E009E8-567D-1871-ACFB-6EDD83D32B29}"/>
          </ac:spMkLst>
        </pc:spChg>
        <pc:spChg chg="add mod">
          <ac:chgData name="Fatma Alsagaf" userId="ef587b5e-378a-4bb3-aa9f-3c15b98138a4" providerId="ADAL" clId="{3F5618C8-8D5E-4E2B-8F0D-3AAFE622726E}" dt="2024-06-26T11:30:48.987" v="9636" actId="20577"/>
          <ac:spMkLst>
            <pc:docMk/>
            <pc:sldMk cId="3437225433" sldId="2147473105"/>
            <ac:spMk id="50" creationId="{2C2C41C8-E7BB-55C9-8156-2F42B818FFE5}"/>
          </ac:spMkLst>
        </pc:spChg>
        <pc:spChg chg="add mod">
          <ac:chgData name="Fatma Alsagaf" userId="ef587b5e-378a-4bb3-aa9f-3c15b98138a4" providerId="ADAL" clId="{3F5618C8-8D5E-4E2B-8F0D-3AAFE622726E}" dt="2024-06-26T11:30:59.886" v="9665" actId="20577"/>
          <ac:spMkLst>
            <pc:docMk/>
            <pc:sldMk cId="3437225433" sldId="2147473105"/>
            <ac:spMk id="51" creationId="{0A234941-49BD-3DFC-1629-C1D4297A5E62}"/>
          </ac:spMkLst>
        </pc:spChg>
        <pc:spChg chg="add del mod">
          <ac:chgData name="Fatma Alsagaf" userId="ef587b5e-378a-4bb3-aa9f-3c15b98138a4" providerId="ADAL" clId="{3F5618C8-8D5E-4E2B-8F0D-3AAFE622726E}" dt="2024-06-26T13:53:09.442" v="9979" actId="21"/>
          <ac:spMkLst>
            <pc:docMk/>
            <pc:sldMk cId="3437225433" sldId="2147473105"/>
            <ac:spMk id="52" creationId="{2712CBF8-303A-39A0-731F-93BB5B333BE9}"/>
          </ac:spMkLst>
        </pc:spChg>
        <pc:spChg chg="add 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53" creationId="{453C772D-217E-8130-187E-053E6645249A}"/>
          </ac:spMkLst>
        </pc:spChg>
        <pc:spChg chg="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55" creationId="{FDDB52AE-F361-ADA2-F6AC-D1553F756CD0}"/>
          </ac:spMkLst>
        </pc:spChg>
        <pc:spChg chg="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56" creationId="{843A6337-3092-229C-8935-83617B347FF9}"/>
          </ac:spMkLst>
        </pc:spChg>
        <pc:spChg chg="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57" creationId="{3E97446B-C0BE-647D-9585-978D17A72061}"/>
          </ac:spMkLst>
        </pc:spChg>
        <pc:spChg chg="mod">
          <ac:chgData name="Fatma Alsagaf" userId="ef587b5e-378a-4bb3-aa9f-3c15b98138a4" providerId="ADAL" clId="{3F5618C8-8D5E-4E2B-8F0D-3AAFE622726E}" dt="2024-06-26T11:29:15.317" v="9553"/>
          <ac:spMkLst>
            <pc:docMk/>
            <pc:sldMk cId="3437225433" sldId="2147473105"/>
            <ac:spMk id="58" creationId="{26E59B98-6FF1-CFE1-512D-D87AD2CD09C6}"/>
          </ac:spMkLst>
        </pc:spChg>
        <pc:grpChg chg="add del mod">
          <ac:chgData name="Fatma Alsagaf" userId="ef587b5e-378a-4bb3-aa9f-3c15b98138a4" providerId="ADAL" clId="{3F5618C8-8D5E-4E2B-8F0D-3AAFE622726E}" dt="2024-06-26T11:29:11.283" v="9548"/>
          <ac:grpSpMkLst>
            <pc:docMk/>
            <pc:sldMk cId="3437225433" sldId="2147473105"/>
            <ac:grpSpMk id="12" creationId="{60D68B2A-1491-8966-F7A6-7C458E6F87F7}"/>
          </ac:grpSpMkLst>
        </pc:grpChg>
        <pc:grpChg chg="add del mod">
          <ac:chgData name="Fatma Alsagaf" userId="ef587b5e-378a-4bb3-aa9f-3c15b98138a4" providerId="ADAL" clId="{3F5618C8-8D5E-4E2B-8F0D-3AAFE622726E}" dt="2024-06-26T11:29:13.565" v="9550"/>
          <ac:grpSpMkLst>
            <pc:docMk/>
            <pc:sldMk cId="3437225433" sldId="2147473105"/>
            <ac:grpSpMk id="26" creationId="{85FFD8DB-5454-B2E7-5DF7-2643C07F765B}"/>
          </ac:grpSpMkLst>
        </pc:grpChg>
        <pc:grpChg chg="add del mod">
          <ac:chgData name="Fatma Alsagaf" userId="ef587b5e-378a-4bb3-aa9f-3c15b98138a4" providerId="ADAL" clId="{3F5618C8-8D5E-4E2B-8F0D-3AAFE622726E}" dt="2024-06-26T11:29:14.772" v="9552"/>
          <ac:grpSpMkLst>
            <pc:docMk/>
            <pc:sldMk cId="3437225433" sldId="2147473105"/>
            <ac:grpSpMk id="40" creationId="{1FC7CC60-92F9-D230-7818-E1A0853D8ADD}"/>
          </ac:grpSpMkLst>
        </pc:grpChg>
        <pc:grpChg chg="add mod">
          <ac:chgData name="Fatma Alsagaf" userId="ef587b5e-378a-4bb3-aa9f-3c15b98138a4" providerId="ADAL" clId="{3F5618C8-8D5E-4E2B-8F0D-3AAFE622726E}" dt="2024-06-26T11:29:15.317" v="9553"/>
          <ac:grpSpMkLst>
            <pc:docMk/>
            <pc:sldMk cId="3437225433" sldId="2147473105"/>
            <ac:grpSpMk id="54" creationId="{135A7E00-E06F-202A-6DA8-638BDE3BFEDA}"/>
          </ac:grpSpMkLst>
        </pc:grpChg>
        <pc:cxnChg chg="add mod">
          <ac:chgData name="Fatma Alsagaf" userId="ef587b5e-378a-4bb3-aa9f-3c15b98138a4" providerId="ADAL" clId="{3F5618C8-8D5E-4E2B-8F0D-3AAFE622726E}" dt="2024-06-26T11:29:46.882" v="9558" actId="13822"/>
          <ac:cxnSpMkLst>
            <pc:docMk/>
            <pc:sldMk cId="3437225433" sldId="2147473105"/>
            <ac:cxnSpMk id="60" creationId="{807FFDB3-7FDF-F62E-13D8-2A338C0117D6}"/>
          </ac:cxnSpMkLst>
        </pc:cxnChg>
        <pc:cxnChg chg="add mod">
          <ac:chgData name="Fatma Alsagaf" userId="ef587b5e-378a-4bb3-aa9f-3c15b98138a4" providerId="ADAL" clId="{3F5618C8-8D5E-4E2B-8F0D-3AAFE622726E}" dt="2024-06-26T11:29:46.882" v="9558" actId="13822"/>
          <ac:cxnSpMkLst>
            <pc:docMk/>
            <pc:sldMk cId="3437225433" sldId="2147473105"/>
            <ac:cxnSpMk id="62" creationId="{6E9C54B3-9B21-BA85-8EEA-F29E5991339A}"/>
          </ac:cxnSpMkLst>
        </pc:cxnChg>
      </pc:sldChg>
      <pc:sldChg chg="addSp delSp modSp add del mod">
        <pc:chgData name="Fatma Alsagaf" userId="ef587b5e-378a-4bb3-aa9f-3c15b98138a4" providerId="ADAL" clId="{3F5618C8-8D5E-4E2B-8F0D-3AAFE622726E}" dt="2024-06-24T06:23:29.387" v="7780" actId="47"/>
        <pc:sldMkLst>
          <pc:docMk/>
          <pc:sldMk cId="2457812340" sldId="2147473106"/>
        </pc:sldMkLst>
        <pc:spChg chg="add del mod">
          <ac:chgData name="Fatma Alsagaf" userId="ef587b5e-378a-4bb3-aa9f-3c15b98138a4" providerId="ADAL" clId="{3F5618C8-8D5E-4E2B-8F0D-3AAFE622726E}" dt="2024-06-24T06:20:46.476" v="7687" actId="21"/>
          <ac:spMkLst>
            <pc:docMk/>
            <pc:sldMk cId="2457812340" sldId="2147473106"/>
            <ac:spMk id="2" creationId="{F07DCA34-3D4C-EB6F-BF9A-B1E38D263C98}"/>
          </ac:spMkLst>
        </pc:spChg>
        <pc:spChg chg="mod">
          <ac:chgData name="Fatma Alsagaf" userId="ef587b5e-378a-4bb3-aa9f-3c15b98138a4" providerId="ADAL" clId="{3F5618C8-8D5E-4E2B-8F0D-3AAFE622726E}" dt="2024-06-24T06:19:02.105" v="7622" actId="1076"/>
          <ac:spMkLst>
            <pc:docMk/>
            <pc:sldMk cId="2457812340" sldId="2147473106"/>
            <ac:spMk id="47" creationId="{7EE0D0EC-F600-3F7F-7F4C-C53027408F02}"/>
          </ac:spMkLst>
        </pc:spChg>
        <pc:spChg chg="del mod">
          <ac:chgData name="Fatma Alsagaf" userId="ef587b5e-378a-4bb3-aa9f-3c15b98138a4" providerId="ADAL" clId="{3F5618C8-8D5E-4E2B-8F0D-3AAFE622726E}" dt="2024-06-24T06:20:38.731" v="7685" actId="478"/>
          <ac:spMkLst>
            <pc:docMk/>
            <pc:sldMk cId="2457812340" sldId="2147473106"/>
            <ac:spMk id="58" creationId="{6AACDAB7-6EB0-28BF-77CD-87492CAAA375}"/>
          </ac:spMkLst>
        </pc:spChg>
        <pc:picChg chg="del">
          <ac:chgData name="Fatma Alsagaf" userId="ef587b5e-378a-4bb3-aa9f-3c15b98138a4" providerId="ADAL" clId="{3F5618C8-8D5E-4E2B-8F0D-3AAFE622726E}" dt="2024-06-24T06:20:41.182" v="7686" actId="478"/>
          <ac:picMkLst>
            <pc:docMk/>
            <pc:sldMk cId="2457812340" sldId="2147473106"/>
            <ac:picMk id="59" creationId="{3B261213-DD42-F348-9713-5314578A853F}"/>
          </ac:picMkLst>
        </pc:picChg>
      </pc:sldChg>
      <pc:sldChg chg="addSp delSp modSp new del mod">
        <pc:chgData name="Fatma Alsagaf" userId="ef587b5e-378a-4bb3-aa9f-3c15b98138a4" providerId="ADAL" clId="{3F5618C8-8D5E-4E2B-8F0D-3AAFE622726E}" dt="2024-07-02T07:01:02.540" v="10570" actId="47"/>
        <pc:sldMkLst>
          <pc:docMk/>
          <pc:sldMk cId="3595364908" sldId="2147473106"/>
        </pc:sldMkLst>
        <pc:spChg chg="del">
          <ac:chgData name="Fatma Alsagaf" userId="ef587b5e-378a-4bb3-aa9f-3c15b98138a4" providerId="ADAL" clId="{3F5618C8-8D5E-4E2B-8F0D-3AAFE622726E}" dt="2024-06-26T11:36:14.615" v="9871" actId="478"/>
          <ac:spMkLst>
            <pc:docMk/>
            <pc:sldMk cId="3595364908" sldId="2147473106"/>
            <ac:spMk id="2" creationId="{91F4765F-7227-FDBA-F834-CB41092BDD42}"/>
          </ac:spMkLst>
        </pc:spChg>
        <pc:spChg chg="mod">
          <ac:chgData name="Fatma Alsagaf" userId="ef587b5e-378a-4bb3-aa9f-3c15b98138a4" providerId="ADAL" clId="{3F5618C8-8D5E-4E2B-8F0D-3AAFE622726E}" dt="2024-06-26T11:35:42.536" v="9870" actId="14100"/>
          <ac:spMkLst>
            <pc:docMk/>
            <pc:sldMk cId="3595364908" sldId="2147473106"/>
            <ac:spMk id="5" creationId="{9C2B4451-0222-EB9A-1695-2DA54B4041FC}"/>
          </ac:spMkLst>
        </pc:spChg>
        <pc:spChg chg="mod">
          <ac:chgData name="Fatma Alsagaf" userId="ef587b5e-378a-4bb3-aa9f-3c15b98138a4" providerId="ADAL" clId="{3F5618C8-8D5E-4E2B-8F0D-3AAFE622726E}" dt="2024-06-26T11:34:46.059" v="9765" actId="20577"/>
          <ac:spMkLst>
            <pc:docMk/>
            <pc:sldMk cId="3595364908" sldId="2147473106"/>
            <ac:spMk id="6" creationId="{2DAEEB13-1308-33F9-74CE-C9716631BF25}"/>
          </ac:spMkLst>
        </pc:spChg>
        <pc:spChg chg="add del mod">
          <ac:chgData name="Fatma Alsagaf" userId="ef587b5e-378a-4bb3-aa9f-3c15b98138a4" providerId="ADAL" clId="{3F5618C8-8D5E-4E2B-8F0D-3AAFE622726E}" dt="2024-06-26T13:57:23.353" v="10028" actId="478"/>
          <ac:spMkLst>
            <pc:docMk/>
            <pc:sldMk cId="3595364908" sldId="2147473106"/>
            <ac:spMk id="7" creationId="{56CACD90-2E2A-2A61-0C42-A1AA6C778084}"/>
          </ac:spMkLst>
        </pc:spChg>
        <pc:grpChg chg="add mod">
          <ac:chgData name="Fatma Alsagaf" userId="ef587b5e-378a-4bb3-aa9f-3c15b98138a4" providerId="ADAL" clId="{3F5618C8-8D5E-4E2B-8F0D-3AAFE622726E}" dt="2024-06-26T11:34:40.225" v="9750"/>
          <ac:grpSpMkLst>
            <pc:docMk/>
            <pc:sldMk cId="3595364908" sldId="2147473106"/>
            <ac:grpSpMk id="4" creationId="{BF0979F6-75DA-2F3D-5505-0364D7E0E3FB}"/>
          </ac:grpSpMkLst>
        </pc:grpChg>
        <pc:graphicFrameChg chg="add mod modGraphic">
          <ac:chgData name="Fatma Alsagaf" userId="ef587b5e-378a-4bb3-aa9f-3c15b98138a4" providerId="ADAL" clId="{3F5618C8-8D5E-4E2B-8F0D-3AAFE622726E}" dt="2024-06-26T14:16:02.344" v="10241" actId="108"/>
          <ac:graphicFrameMkLst>
            <pc:docMk/>
            <pc:sldMk cId="3595364908" sldId="2147473106"/>
            <ac:graphicFrameMk id="3" creationId="{DEECC0C6-D2EB-505A-8392-1058FD880B3E}"/>
          </ac:graphicFrameMkLst>
        </pc:graphicFrameChg>
      </pc:sldChg>
      <pc:sldChg chg="new">
        <pc:chgData name="Fatma Alsagaf" userId="ef587b5e-378a-4bb3-aa9f-3c15b98138a4" providerId="ADAL" clId="{3F5618C8-8D5E-4E2B-8F0D-3AAFE622726E}" dt="2024-07-02T12:44:12.169" v="11110" actId="680"/>
        <pc:sldMkLst>
          <pc:docMk/>
          <pc:sldMk cId="4188782415" sldId="2147473106"/>
        </pc:sldMkLst>
      </pc:sldChg>
      <pc:sldChg chg="addSp delSp modSp new del mod">
        <pc:chgData name="Fatma Alsagaf" userId="ef587b5e-378a-4bb3-aa9f-3c15b98138a4" providerId="ADAL" clId="{3F5618C8-8D5E-4E2B-8F0D-3AAFE622726E}" dt="2024-07-02T07:00:59.912" v="10569" actId="47"/>
        <pc:sldMkLst>
          <pc:docMk/>
          <pc:sldMk cId="521065463" sldId="2147473107"/>
        </pc:sldMkLst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3" creationId="{ACB22724-EC28-047A-B298-34C32F4C2509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4" creationId="{678D9ADE-8C37-25DC-88B3-5B74318BCB28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5" creationId="{B29B7CF5-975A-B5A2-7CAC-5527297505A4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6" creationId="{4C0B1116-D2C8-E522-CB49-45EC48D3D6B5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7" creationId="{37C353A6-B223-E81D-5B89-146349805C76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8" creationId="{C7C1CB07-FC54-1E0B-0CFF-1B4AFF088CEA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9" creationId="{A6745AE4-95AA-6C9C-8359-CCCE377EDE4B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0" creationId="{C5A8F9EF-5AEB-C415-472C-442D8FDC8436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1" creationId="{9E156E4E-FB34-938C-E44B-BEA1EB2ADF55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2" creationId="{D3EC8EA1-2630-1393-0F0D-36FB07106580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3" creationId="{6A8126D2-CDE5-C151-AA63-CD3CB40CB2CB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4" creationId="{191545E6-2C61-DA88-2FD5-1D7F0E635138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5" creationId="{20F28F5E-3642-F0F0-F3BB-15D998D578F5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6" creationId="{07424760-85CE-EB4C-A9A0-166C2A732726}"/>
          </ac:graphicFrameMkLst>
        </pc:graphicFrameChg>
        <pc:graphicFrameChg chg="add del mod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7" creationId="{E56D3FE7-AC5C-CBB4-EB79-0BAD8B5B04AA}"/>
          </ac:graphicFrameMkLst>
        </pc:graphicFrameChg>
        <pc:graphicFrameChg chg="add del mod modGraphic">
          <ac:chgData name="Fatma Alsagaf" userId="ef587b5e-378a-4bb3-aa9f-3c15b98138a4" providerId="ADAL" clId="{3F5618C8-8D5E-4E2B-8F0D-3AAFE622726E}" dt="2024-06-26T14:06:28.594" v="10068"/>
          <ac:graphicFrameMkLst>
            <pc:docMk/>
            <pc:sldMk cId="521065463" sldId="2147473107"/>
            <ac:graphicFrameMk id="18" creationId="{9472419C-AB07-2C78-1A1D-B493AA65044A}"/>
          </ac:graphicFrameMkLst>
        </pc:graphicFrameChg>
      </pc:sldChg>
      <pc:sldChg chg="add del">
        <pc:chgData name="Fatma Alsagaf" userId="ef587b5e-378a-4bb3-aa9f-3c15b98138a4" providerId="ADAL" clId="{3F5618C8-8D5E-4E2B-8F0D-3AAFE622726E}" dt="2024-06-26T13:59:07.786" v="10061" actId="47"/>
        <pc:sldMkLst>
          <pc:docMk/>
          <pc:sldMk cId="2646077057" sldId="2147473107"/>
        </pc:sldMkLst>
      </pc:sldChg>
      <pc:sldChg chg="addSp delSp modSp add mod">
        <pc:chgData name="Fatma Alsagaf" userId="ef587b5e-378a-4bb3-aa9f-3c15b98138a4" providerId="ADAL" clId="{3F5618C8-8D5E-4E2B-8F0D-3AAFE622726E}" dt="2024-07-02T13:10:19.364" v="11429"/>
        <pc:sldMkLst>
          <pc:docMk/>
          <pc:sldMk cId="3084414967" sldId="2147473107"/>
        </pc:sldMkLst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" creationId="{78D52C3F-F4B7-A742-2123-738BD1CE1C2D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4" creationId="{A44EAB51-A47E-5B85-F9CA-59F92DD61306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" creationId="{7EF170AA-D6ED-F48B-8CFA-921FF075B94B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" creationId="{24C183F4-4879-30A1-FACF-F35718B54490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7" creationId="{89006FCD-737D-6867-C665-C855EA49EA02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30" creationId="{BEE9FDDB-23BA-F098-94EF-A966E9049BA9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34" creationId="{E5148231-D850-355E-B2F0-B41256D23D57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35" creationId="{CD64996F-094D-2A43-9FBC-C0D4262AE4AB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39" creationId="{13D80049-A4C4-D3A1-A2AF-FBB15EEB1947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45" creationId="{4B3317D9-CEF9-01E5-661F-1A61EF8CAB6A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46" creationId="{8CBFADB6-2C86-DBD1-038A-0856180309BC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47" creationId="{931B10FE-77F1-2E16-F2A9-BC920ACB32D7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48" creationId="{519E68DD-0B1D-D4B5-B274-F412B7F7660B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49" creationId="{7F4DACE7-23F7-9EAB-56D8-AA43649EDBB6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50" creationId="{A8D6D100-AF5D-4E7D-5812-8EBC08A3F80F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1" creationId="{282F374F-700D-9D58-29D2-D1A72E8F8A21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2" creationId="{E3A0E666-1F8A-F501-5F23-71AE6FA254BF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6" creationId="{BAB7AE86-76EC-CC56-201C-924D2DD3BDBA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7" creationId="{23A42698-F4D7-904D-3C04-0674B70A78C7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8" creationId="{AFA937A9-5F7E-D394-D79D-CEEB414791D2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59" creationId="{A4543624-7E00-3EA1-CD6F-D78E9B9A9EA1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0" creationId="{EBF4D43E-53AF-7D7E-50F4-E659C90D9C5E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1" creationId="{38122199-BF7D-196E-4306-5324FE9BA2F4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2" creationId="{9AB8612C-2F66-5BA6-8111-5700DAB54E76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3" creationId="{46B5C070-016B-7A0E-583A-152771685071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4" creationId="{CD944E88-6143-1C1A-AD79-D7442256C765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5" creationId="{7B68EC64-02D5-36D2-9114-35E74B31D99E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6" creationId="{918CB149-8035-CF52-56BB-2CED3D711DE4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7" creationId="{C3F1794D-DC69-E9F4-EE2F-DE5E26FE26B1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8" creationId="{BF336671-5F0E-A716-ADE6-A226BE7B99EE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69" creationId="{60B9E9C6-8234-38AA-0FFB-51AB6835333A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70" creationId="{91B68CF0-9C96-BC6F-8D48-997749955372}"/>
          </ac:spMkLst>
        </pc:spChg>
        <pc:spChg chg="mod">
          <ac:chgData name="Fatma Alsagaf" userId="ef587b5e-378a-4bb3-aa9f-3c15b98138a4" providerId="ADAL" clId="{3F5618C8-8D5E-4E2B-8F0D-3AAFE622726E}" dt="2024-07-02T13:10:09.441" v="11427" actId="207"/>
          <ac:spMkLst>
            <pc:docMk/>
            <pc:sldMk cId="3084414967" sldId="2147473107"/>
            <ac:spMk id="71" creationId="{055C8737-B5A2-7627-2E92-9199439B1C71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75" creationId="{9DDDCF67-379B-9A97-1EFA-551F01E64748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77" creationId="{E5F58BAA-09F5-DAA8-118A-080D93C03F75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79" creationId="{64EC2EE6-016B-447A-9954-EF5C47ECAC40}"/>
          </ac:spMkLst>
        </pc:spChg>
        <pc:spChg chg="del">
          <ac:chgData name="Fatma Alsagaf" userId="ef587b5e-378a-4bb3-aa9f-3c15b98138a4" providerId="ADAL" clId="{3F5618C8-8D5E-4E2B-8F0D-3AAFE622726E}" dt="2024-07-02T13:09:49.331" v="11410" actId="478"/>
          <ac:spMkLst>
            <pc:docMk/>
            <pc:sldMk cId="3084414967" sldId="2147473107"/>
            <ac:spMk id="81" creationId="{4A3FF1BC-62B5-1F07-2882-149E64E504EC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82" creationId="{BD57B4B2-0196-FE23-1111-9479182E702A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83" creationId="{60F6735E-C073-CBA3-41A8-6AF0CB3EA35C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84" creationId="{E5DC8988-B48A-C191-F360-9771B23F7C6C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85" creationId="{B69994EA-261B-2BAA-9664-42B51F8AADC8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86" creationId="{C2BD184A-CE32-AF4C-EA65-7CD7B10A6B16}"/>
          </ac:spMkLst>
        </pc:spChg>
        <pc:spChg chg="add 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93" creationId="{03699830-C92D-BF9D-B248-55F21A0DF18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95" creationId="{043324A9-2D67-6B32-B7E1-CD32AEFE2ED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96" creationId="{FE82169D-C404-ADC6-3013-B6F0B9BBA7F5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97" creationId="{918CB9BF-7477-7221-55F0-31A06193DC7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98" creationId="{47F7A6A5-DF0F-09E1-FA69-F0DDDA6C2DF5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99" creationId="{71D67481-4C69-9057-5F6A-5CDF0730B34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0" creationId="{FD6971F9-E615-FAC1-9D13-058AE588E272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1" creationId="{CEA7CC78-51F4-FA20-FE9E-CCF485B0F5E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2" creationId="{BDEC88D5-9E58-2592-7F58-400F9D514595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3" creationId="{D0136EBD-8E16-F31D-BF3E-F44B661FDFC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4" creationId="{121E5ECB-452C-D09D-E9AA-A1D99917087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5" creationId="{8C252E41-8A8A-5611-DB0A-3FAC0E352F8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6" creationId="{05CC3D42-516B-3B62-5A66-897C8D00788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7" creationId="{E0F74393-712A-10C5-A109-C5F12071582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8" creationId="{20A189CB-B2B4-3C7A-CBCC-D294CBD9C2C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09" creationId="{03636980-E50D-F830-8418-623858D7C02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0" creationId="{DFCDB860-96CC-F033-3937-08873234E89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1" creationId="{8D44835B-F63B-51D3-20A7-32DDB41472F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2" creationId="{9085B1F8-8236-EE27-2306-342D852EF42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3" creationId="{3CFBC051-D040-107D-508B-DBFCAFEC446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4" creationId="{48A7C090-DBCE-5549-2CBF-28DC275F44F2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5" creationId="{BA070E66-6599-6C1B-085E-D31E2436B50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6" creationId="{37F5ADB0-45FE-844F-0243-9417F124426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7" creationId="{8D80CCC2-BD7B-A029-79C0-E7FB4531D8C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8" creationId="{00A65800-2BC3-914D-30D4-97B7D4ACBDF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19" creationId="{1A077A73-77D9-BBA3-39BF-EE4B7D20AFF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0" creationId="{F4789956-0B17-0E5B-0A5E-DC932E794CBB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1" creationId="{FC39840D-CB11-EB59-86CA-6DA8FEB1449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2" creationId="{4F751479-F837-A5F8-331C-BBB7B647359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3" creationId="{D81F804D-FD08-AC3D-8100-3EE5309D259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4" creationId="{83C353BA-8B0C-D451-E329-7321538EE43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5" creationId="{0382B578-463F-FE01-3933-A554876B4855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6" creationId="{2B9773A9-14EF-58D4-31FD-3F0F95E9471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7" creationId="{C115D25C-A133-2434-C5D3-F43870C7A83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8" creationId="{94FF56C1-10A1-F87D-0F81-28731A18744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29" creationId="{FE3E1189-D611-DA15-02C6-67010C70C9E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0" creationId="{05B925D3-1264-6E02-D775-B50EA9DA83F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1" creationId="{38B5768D-923A-DB16-1161-3D613A0B368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2" creationId="{69A8BB01-A230-3D39-B936-C12BC30985E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3" creationId="{681026B1-4B65-EA53-79A4-205A48CA3B5B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4" creationId="{72AB985B-87F6-78D9-0E77-D0E2C56B43D2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5" creationId="{8B73B600-62A1-3D61-10EB-D9EADE0657B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6" creationId="{55B10E1A-E293-B980-4028-C8F0FC11F59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7" creationId="{928797E6-5D18-319F-2D9A-470E95EFE9B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8" creationId="{2BE5EDAD-4E00-2530-4819-D15EDD21FCD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39" creationId="{317386F0-2DE4-A6A4-4326-08C8F0668EF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0" creationId="{9A072941-77BD-3587-BE59-164B03FB316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1" creationId="{21AB9887-9039-F42D-70FC-A617D74E083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2" creationId="{59999322-52CA-0A05-F4A8-A304528C5B7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3" creationId="{C2678CC2-36C6-3ED2-D570-888CA33B7E5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4" creationId="{FB1DB71A-A021-4891-5A5B-7144BCC9451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5" creationId="{69F5920D-5966-AADD-D103-74BDF7DFA3C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6" creationId="{459330D9-864A-7B89-ACAC-FA5C6E0E40B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7" creationId="{3B5E67DC-8360-47F9-16BF-3681F6972DA2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8" creationId="{A2B8F5CA-3FA6-A085-FCE4-71AF6D71981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49" creationId="{33718425-712B-8C48-F373-3BD74F31E415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0" creationId="{DD79403D-A066-6786-C467-CA1050D9645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1" creationId="{2D4CD32F-29B9-E8F1-CEF9-45A4E3751C9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2" creationId="{F28AC890-E887-3E51-923D-87BCF4152C8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3" creationId="{703371B0-40EF-FA71-2B0E-75283D67654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4" creationId="{F6B9CBC1-AB26-33CF-78A5-8FDC9D99652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5" creationId="{5EDBE88C-8323-D964-F0EF-7829E6FF352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6" creationId="{7F00F533-92C6-E679-1699-F8745D7AFD0B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7" creationId="{01026D05-D811-F32C-364B-5F465478A2D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8" creationId="{AD82894D-9859-3570-F820-EAA21A660AC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59" creationId="{ECB5D4F9-71ED-8F00-41F7-95DD44ACD0F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0" creationId="{53FB7123-FD81-7299-D1A4-D9976D9D5BB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1" creationId="{B688FF52-ED12-A47D-CAA5-6C954741DFB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2" creationId="{6912FCB1-C86C-E965-443A-B01296600D4C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3" creationId="{07F5B3D4-1581-DF4D-FDEB-A69E58C0F7C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4" creationId="{62BE2571-2808-4C4E-CBD5-D82B6803A2D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5" creationId="{4E33B8CE-0972-DDDB-2146-17B3EDBE6F3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6" creationId="{8D7A69E6-4DF4-2630-5D97-FC4B5B13FABB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7" creationId="{96927504-15E8-52F9-ABA2-0FCDD3399B2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8" creationId="{0725FE23-9057-A365-3B9A-444BA0F0CEB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69" creationId="{E3760D1F-9582-AE2A-9467-6AFE24CC78C4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0" creationId="{861256D0-21E3-D607-D962-6ED658C5444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1" creationId="{835EDE66-C31F-6447-11D6-239202A5575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2" creationId="{C2F2F17C-5D5A-2328-C0C9-CE1AE5A0A57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3" creationId="{1B85889E-B70F-0B63-9718-0F2B1FF0886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4" creationId="{6B93E8E5-C821-B197-3E71-9C0CBD4B3B4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5" creationId="{A2E1C91D-07A3-7562-B056-DB68E002A30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6" creationId="{5CE9CF4D-B848-0153-BDEC-DEFE5129162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7" creationId="{2CCE1B80-568C-7A7B-6C17-508A606905B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8" creationId="{C8DE15B4-C6A7-30AB-1B07-DF8FA00DCA4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79" creationId="{7E5BD06A-5B65-6071-AD8D-6753F3CCC32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0" creationId="{0EDC3707-4610-1380-F799-2084C726D8B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1" creationId="{7F88573B-DD48-A0CF-82B8-B4C7EFB1ADC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2" creationId="{02173DB9-CB71-C89A-317E-F85B1966F39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3" creationId="{8BC45CF4-B947-B5B0-071C-F7B44188872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4" creationId="{69182EFF-7692-ADD9-49B1-8333EF2CFD7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5" creationId="{A01A4CBA-7B0B-5A79-4787-0EB145030FB2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6" creationId="{A48BB973-B538-A75D-46FB-D24984F1FC7C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7" creationId="{F1111EEF-E087-6869-A542-8E4F4E1645D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8" creationId="{91234740-BBE3-4AE9-7429-BC7FA4C023EE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89" creationId="{61E19CE6-C44B-C8A5-6A69-55979E56B5D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0" creationId="{AA5BD299-3D11-9D69-2C2F-2F2BC8AFFFB9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1" creationId="{5E6349CC-4702-87A0-F1B9-A6A772A2C03B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2" creationId="{ED53DBB7-90BD-41E0-A6F7-59CCC490590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3" creationId="{8AB6AD01-1A5B-591C-92C1-E050C4E7F3DB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4" creationId="{845326CA-32D1-D7EB-C6A7-DBB0857316C7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5" creationId="{7AE59065-4836-265F-9A94-74AEA493BB9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6" creationId="{5C1B2C06-66C3-047A-C2C8-02D52A039E2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7" creationId="{13C4226D-A852-66CC-B4C8-E0C1B601664F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8" creationId="{0ECC8B78-764B-2DDC-C316-0F6B028C249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199" creationId="{B82146B7-E794-5D17-35D1-637FBEDBED2D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0" creationId="{8DAE7992-38B3-8B53-9C54-514160815E6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1" creationId="{6D7AE4C1-36A0-CAC2-295F-B71EC19AB37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2" creationId="{2E0494B1-F535-05FC-D21F-8C5EFE5B57B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3" creationId="{B8DD2F27-F082-4213-B470-25BD5BDACC11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4" creationId="{CF23120D-C114-45FE-35F9-09B6F294077A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5" creationId="{4795018F-DBD6-08FF-AFE0-861134E5131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6" creationId="{304E6B5E-4265-23B1-BB4D-E78196591BC3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7" creationId="{7922876E-5E5D-F4AF-2F22-3F939BF4A9B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8" creationId="{01667F7D-0C10-1BB0-9D63-705765F43496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09" creationId="{5B90881C-BCA0-AB65-3D2A-7349A80E9C88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10" creationId="{5515C2FD-35D3-B03B-0718-BB81A55EA880}"/>
          </ac:spMkLst>
        </pc:spChg>
        <pc:spChg chg="mod">
          <ac:chgData name="Fatma Alsagaf" userId="ef587b5e-378a-4bb3-aa9f-3c15b98138a4" providerId="ADAL" clId="{3F5618C8-8D5E-4E2B-8F0D-3AAFE622726E}" dt="2024-07-02T13:10:19.364" v="11429"/>
          <ac:spMkLst>
            <pc:docMk/>
            <pc:sldMk cId="3084414967" sldId="2147473107"/>
            <ac:spMk id="211" creationId="{A795EBB5-08B6-E06B-F8A8-7FDD01E34603}"/>
          </ac:spMkLst>
        </pc:spChg>
        <pc:grpChg chg="del">
          <ac:chgData name="Fatma Alsagaf" userId="ef587b5e-378a-4bb3-aa9f-3c15b98138a4" providerId="ADAL" clId="{3F5618C8-8D5E-4E2B-8F0D-3AAFE622726E}" dt="2024-07-02T13:09:49.331" v="11410" actId="478"/>
          <ac:grpSpMkLst>
            <pc:docMk/>
            <pc:sldMk cId="3084414967" sldId="2147473107"/>
            <ac:grpSpMk id="31" creationId="{A36DDB96-4B45-13D1-24AC-996D43D2B619}"/>
          </ac:grpSpMkLst>
        </pc:grpChg>
        <pc:grpChg chg="del">
          <ac:chgData name="Fatma Alsagaf" userId="ef587b5e-378a-4bb3-aa9f-3c15b98138a4" providerId="ADAL" clId="{3F5618C8-8D5E-4E2B-8F0D-3AAFE622726E}" dt="2024-07-02T13:09:49.331" v="11410" actId="478"/>
          <ac:grpSpMkLst>
            <pc:docMk/>
            <pc:sldMk cId="3084414967" sldId="2147473107"/>
            <ac:grpSpMk id="36" creationId="{FD63DEA8-11B2-F74A-6774-A8ABEFA14408}"/>
          </ac:grpSpMkLst>
        </pc:grpChg>
        <pc:grpChg chg="del">
          <ac:chgData name="Fatma Alsagaf" userId="ef587b5e-378a-4bb3-aa9f-3c15b98138a4" providerId="ADAL" clId="{3F5618C8-8D5E-4E2B-8F0D-3AAFE622726E}" dt="2024-07-02T13:09:49.331" v="11410" actId="478"/>
          <ac:grpSpMkLst>
            <pc:docMk/>
            <pc:sldMk cId="3084414967" sldId="2147473107"/>
            <ac:grpSpMk id="40" creationId="{53B3480D-2921-6CFC-79C7-683939D5493A}"/>
          </ac:grpSpMkLst>
        </pc:grpChg>
        <pc:grpChg chg="del">
          <ac:chgData name="Fatma Alsagaf" userId="ef587b5e-378a-4bb3-aa9f-3c15b98138a4" providerId="ADAL" clId="{3F5618C8-8D5E-4E2B-8F0D-3AAFE622726E}" dt="2024-07-02T13:09:49.331" v="11410" actId="478"/>
          <ac:grpSpMkLst>
            <pc:docMk/>
            <pc:sldMk cId="3084414967" sldId="2147473107"/>
            <ac:grpSpMk id="53" creationId="{F05454AB-F83B-8BD5-8641-5598E20FC541}"/>
          </ac:grpSpMkLst>
        </pc:grpChg>
        <pc:grpChg chg="del">
          <ac:chgData name="Fatma Alsagaf" userId="ef587b5e-378a-4bb3-aa9f-3c15b98138a4" providerId="ADAL" clId="{3F5618C8-8D5E-4E2B-8F0D-3AAFE622726E}" dt="2024-07-02T13:09:49.331" v="11410" actId="478"/>
          <ac:grpSpMkLst>
            <pc:docMk/>
            <pc:sldMk cId="3084414967" sldId="2147473107"/>
            <ac:grpSpMk id="74" creationId="{6DEE2229-2E3D-076F-7101-A401D74C14C5}"/>
          </ac:grpSpMkLst>
        </pc:grpChg>
        <pc:grpChg chg="add mod">
          <ac:chgData name="Fatma Alsagaf" userId="ef587b5e-378a-4bb3-aa9f-3c15b98138a4" providerId="ADAL" clId="{3F5618C8-8D5E-4E2B-8F0D-3AAFE622726E}" dt="2024-07-02T13:10:19.364" v="11429"/>
          <ac:grpSpMkLst>
            <pc:docMk/>
            <pc:sldMk cId="3084414967" sldId="2147473107"/>
            <ac:grpSpMk id="94" creationId="{A1D07BE8-218D-13CE-5005-E91835AD87F1}"/>
          </ac:grpSpMkLst>
        </pc:grpChg>
        <pc:picChg chg="add mod">
          <ac:chgData name="Fatma Alsagaf" userId="ef587b5e-378a-4bb3-aa9f-3c15b98138a4" providerId="ADAL" clId="{3F5618C8-8D5E-4E2B-8F0D-3AAFE622726E}" dt="2024-07-02T13:10:19.364" v="11429"/>
          <ac:picMkLst>
            <pc:docMk/>
            <pc:sldMk cId="3084414967" sldId="2147473107"/>
            <ac:picMk id="87" creationId="{5355AC87-3A39-96D7-15D2-B4665E3D501E}"/>
          </ac:picMkLst>
        </pc:picChg>
        <pc:picChg chg="add mod">
          <ac:chgData name="Fatma Alsagaf" userId="ef587b5e-378a-4bb3-aa9f-3c15b98138a4" providerId="ADAL" clId="{3F5618C8-8D5E-4E2B-8F0D-3AAFE622726E}" dt="2024-07-02T13:10:19.364" v="11429"/>
          <ac:picMkLst>
            <pc:docMk/>
            <pc:sldMk cId="3084414967" sldId="2147473107"/>
            <ac:picMk id="88" creationId="{A27757A1-8BFF-97F5-9B6B-99A9491819A1}"/>
          </ac:picMkLst>
        </pc:picChg>
        <pc:picChg chg="add mod">
          <ac:chgData name="Fatma Alsagaf" userId="ef587b5e-378a-4bb3-aa9f-3c15b98138a4" providerId="ADAL" clId="{3F5618C8-8D5E-4E2B-8F0D-3AAFE622726E}" dt="2024-07-02T13:10:19.364" v="11429"/>
          <ac:picMkLst>
            <pc:docMk/>
            <pc:sldMk cId="3084414967" sldId="2147473107"/>
            <ac:picMk id="89" creationId="{904E8A1E-1C92-21B2-4713-63BB318FF7FF}"/>
          </ac:picMkLst>
        </pc:picChg>
        <pc:picChg chg="add mod">
          <ac:chgData name="Fatma Alsagaf" userId="ef587b5e-378a-4bb3-aa9f-3c15b98138a4" providerId="ADAL" clId="{3F5618C8-8D5E-4E2B-8F0D-3AAFE622726E}" dt="2024-07-02T13:10:19.364" v="11429"/>
          <ac:picMkLst>
            <pc:docMk/>
            <pc:sldMk cId="3084414967" sldId="2147473107"/>
            <ac:picMk id="90" creationId="{AA3704FC-031B-7FBC-EDDF-8C58C9AD8727}"/>
          </ac:picMkLst>
        </pc:picChg>
        <pc:picChg chg="add mod">
          <ac:chgData name="Fatma Alsagaf" userId="ef587b5e-378a-4bb3-aa9f-3c15b98138a4" providerId="ADAL" clId="{3F5618C8-8D5E-4E2B-8F0D-3AAFE622726E}" dt="2024-07-02T13:10:19.364" v="11429"/>
          <ac:picMkLst>
            <pc:docMk/>
            <pc:sldMk cId="3084414967" sldId="2147473107"/>
            <ac:picMk id="91" creationId="{B38F8F07-790B-0644-CD6F-42036E3BCC11}"/>
          </ac:picMkLst>
        </pc:picChg>
        <pc:picChg chg="add mod">
          <ac:chgData name="Fatma Alsagaf" userId="ef587b5e-378a-4bb3-aa9f-3c15b98138a4" providerId="ADAL" clId="{3F5618C8-8D5E-4E2B-8F0D-3AAFE622726E}" dt="2024-07-02T13:10:19.364" v="11429"/>
          <ac:picMkLst>
            <pc:docMk/>
            <pc:sldMk cId="3084414967" sldId="2147473107"/>
            <ac:picMk id="92" creationId="{5B2C26E5-9C74-01AD-8D25-8BD5DD40C456}"/>
          </ac:picMkLst>
        </pc:picChg>
        <pc:cxnChg chg="del">
          <ac:chgData name="Fatma Alsagaf" userId="ef587b5e-378a-4bb3-aa9f-3c15b98138a4" providerId="ADAL" clId="{3F5618C8-8D5E-4E2B-8F0D-3AAFE622726E}" dt="2024-07-02T13:09:49.331" v="11410" actId="478"/>
          <ac:cxnSpMkLst>
            <pc:docMk/>
            <pc:sldMk cId="3084414967" sldId="2147473107"/>
            <ac:cxnSpMk id="76" creationId="{EDFBEEC6-4DD6-01D6-0A0A-A1599D38C7D3}"/>
          </ac:cxnSpMkLst>
        </pc:cxnChg>
        <pc:cxnChg chg="del">
          <ac:chgData name="Fatma Alsagaf" userId="ef587b5e-378a-4bb3-aa9f-3c15b98138a4" providerId="ADAL" clId="{3F5618C8-8D5E-4E2B-8F0D-3AAFE622726E}" dt="2024-07-02T13:09:49.331" v="11410" actId="478"/>
          <ac:cxnSpMkLst>
            <pc:docMk/>
            <pc:sldMk cId="3084414967" sldId="2147473107"/>
            <ac:cxnSpMk id="78" creationId="{8143B27C-4C0B-4246-44F9-2F4D3B80F583}"/>
          </ac:cxnSpMkLst>
        </pc:cxnChg>
        <pc:cxnChg chg="del">
          <ac:chgData name="Fatma Alsagaf" userId="ef587b5e-378a-4bb3-aa9f-3c15b98138a4" providerId="ADAL" clId="{3F5618C8-8D5E-4E2B-8F0D-3AAFE622726E}" dt="2024-07-02T13:09:49.331" v="11410" actId="478"/>
          <ac:cxnSpMkLst>
            <pc:docMk/>
            <pc:sldMk cId="3084414967" sldId="2147473107"/>
            <ac:cxnSpMk id="80" creationId="{CF8B9D1E-D29C-1A4E-6E78-32CC08E2FC9B}"/>
          </ac:cxnSpMkLst>
        </pc:cxnChg>
      </pc:sldChg>
      <pc:sldChg chg="addSp delSp modSp add del mod modShow modNotesTx">
        <pc:chgData name="Fatma Alsagaf" userId="ef587b5e-378a-4bb3-aa9f-3c15b98138a4" providerId="ADAL" clId="{3F5618C8-8D5E-4E2B-8F0D-3AAFE622726E}" dt="2024-06-24T08:05:24.545" v="8853" actId="47"/>
        <pc:sldMkLst>
          <pc:docMk/>
          <pc:sldMk cId="3372487229" sldId="2147473107"/>
        </pc:sldMkLst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2" creationId="{2B27B052-886B-9312-6A18-1C874C943617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3" creationId="{ADD1ECA7-C9FD-3900-C2C9-383E1CB65A7D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4" creationId="{BDF08F88-1DBC-064C-CB65-BEFD944B5584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5" creationId="{A2872F5B-DBF0-86CC-1C42-2D378BDC10B2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6" creationId="{E72A62A2-F6B2-CAC2-04EC-06F8D2DC4E47}"/>
          </ac:spMkLst>
        </pc:spChg>
        <pc:spChg chg="mod">
          <ac:chgData name="Fatma Alsagaf" userId="ef587b5e-378a-4bb3-aa9f-3c15b98138a4" providerId="ADAL" clId="{3F5618C8-8D5E-4E2B-8F0D-3AAFE622726E}" dt="2024-06-24T06:30:35.393" v="7993" actId="20577"/>
          <ac:spMkLst>
            <pc:docMk/>
            <pc:sldMk cId="3372487229" sldId="2147473107"/>
            <ac:spMk id="7" creationId="{67CC92FA-3529-FB2D-9948-3F3611CF7122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8" creationId="{C3765135-F03A-028E-E265-5949405F901C}"/>
          </ac:spMkLst>
        </pc:spChg>
        <pc:spChg chg="add 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9" creationId="{CBFEA95B-A606-DBF3-83D1-D6BAFB7BAFA1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0" creationId="{32F1CC5E-5F57-627A-980A-DFF90C4A04A9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1" creationId="{769532F0-0850-28ED-D701-F9EB68E7117A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2" creationId="{5E44D262-F740-743E-CB54-6FF1D7BC5681}"/>
          </ac:spMkLst>
        </pc:spChg>
        <pc:spChg chg="del mod">
          <ac:chgData name="Fatma Alsagaf" userId="ef587b5e-378a-4bb3-aa9f-3c15b98138a4" providerId="ADAL" clId="{3F5618C8-8D5E-4E2B-8F0D-3AAFE622726E}" dt="2024-06-24T06:01:45.844" v="7287" actId="478"/>
          <ac:spMkLst>
            <pc:docMk/>
            <pc:sldMk cId="3372487229" sldId="2147473107"/>
            <ac:spMk id="13" creationId="{B7F5D2D5-B538-6C2F-9129-A2B49B3135E8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4" creationId="{C633A11B-BD98-A9EF-FBC4-F0239F32D17B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5" creationId="{084F7208-FE02-1668-DE15-05DE3E0474C7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6" creationId="{B4FFE5F9-9155-160A-0D54-77FE1F664747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7" creationId="{E5F1022C-5BFC-5AD2-7A6B-DB9B997DF796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8" creationId="{92C87612-B689-A81D-49E7-F16245F2F965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19" creationId="{5D296AFD-5178-B4F6-815E-E3A90AF31E9A}"/>
          </ac:spMkLst>
        </pc:spChg>
        <pc:spChg chg="del">
          <ac:chgData name="Fatma Alsagaf" userId="ef587b5e-378a-4bb3-aa9f-3c15b98138a4" providerId="ADAL" clId="{3F5618C8-8D5E-4E2B-8F0D-3AAFE622726E}" dt="2024-06-24T06:01:46.254" v="7288" actId="478"/>
          <ac:spMkLst>
            <pc:docMk/>
            <pc:sldMk cId="3372487229" sldId="2147473107"/>
            <ac:spMk id="20" creationId="{93B7B233-5E35-0EF0-20A8-A25A5A0716AD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21" creationId="{0272B9F0-22D0-B8F5-A189-6028E85C0C47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22" creationId="{1DFD0AE3-83C1-3365-F45D-919F3F1CAD2E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23" creationId="{F9CF6FA7-A81E-6CB9-773D-7D6881D8E4E1}"/>
          </ac:spMkLst>
        </pc:spChg>
        <pc:spChg chg="add 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24" creationId="{A938815E-67CE-608E-7F57-1EF045FDACFC}"/>
          </ac:spMkLst>
        </pc:spChg>
        <pc:spChg chg="del">
          <ac:chgData name="Fatma Alsagaf" userId="ef587b5e-378a-4bb3-aa9f-3c15b98138a4" providerId="ADAL" clId="{3F5618C8-8D5E-4E2B-8F0D-3AAFE622726E}" dt="2024-06-24T06:01:43.326" v="7285" actId="478"/>
          <ac:spMkLst>
            <pc:docMk/>
            <pc:sldMk cId="3372487229" sldId="2147473107"/>
            <ac:spMk id="25" creationId="{8970F88E-DBD7-7097-8128-EA0EA83EC236}"/>
          </ac:spMkLst>
        </pc:spChg>
        <pc:spChg chg="add 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26" creationId="{4C1D0D1F-6C80-B613-8C60-3882A2C2BAF6}"/>
          </ac:spMkLst>
        </pc:spChg>
        <pc:spChg chg="add 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27" creationId="{E55B715A-D3C8-AA9B-9FBF-8D969C180945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29" creationId="{EF3F2B09-6264-4CE3-5187-D9EBA125C3C4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0" creationId="{A98456F5-E991-C72D-36EA-DCFF1038A226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1" creationId="{F194B4C4-6F47-5D22-DE3A-D1F1BEE64032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3" creationId="{6ECDA99A-4597-1E54-9484-CB1B6EC75ED8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4" creationId="{A900D9F3-0BAD-1819-F6DF-49023037D23D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5" creationId="{242999E4-3422-4807-F0FA-76DDDFE009E3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7" creationId="{0F86D555-2577-7C67-C592-A9A3351B3587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8" creationId="{D450AD5B-AC94-E57B-8C06-D1B27AE6ED91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39" creationId="{AAC22F5F-D658-F0EE-988D-262B7C5EDBEA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41" creationId="{30BE7C30-B610-E850-6E37-571A74D8B6F5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42" creationId="{E366D6E6-1428-16DF-BA25-6EBE84FF49E6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43" creationId="{5D65B72C-FBA4-942F-57B6-A1F82DBB214D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45" creationId="{32432BC1-FDD4-6596-A7B2-508CE546283A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46" creationId="{9A4D7230-AD1B-6F35-0555-85FB54230788}"/>
          </ac:spMkLst>
        </pc:spChg>
        <pc:spChg chg="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47" creationId="{306115DC-D1D5-D2FF-BD87-D386D25EF61C}"/>
          </ac:spMkLst>
        </pc:spChg>
        <pc:spChg chg="mod">
          <ac:chgData name="Fatma Alsagaf" userId="ef587b5e-378a-4bb3-aa9f-3c15b98138a4" providerId="ADAL" clId="{3F5618C8-8D5E-4E2B-8F0D-3AAFE622726E}" dt="2024-06-24T06:50:35.934" v="8579" actId="1076"/>
          <ac:spMkLst>
            <pc:docMk/>
            <pc:sldMk cId="3372487229" sldId="2147473107"/>
            <ac:spMk id="50" creationId="{2BA0A6EC-66AE-99BA-6D33-E48B7A183379}"/>
          </ac:spMkLst>
        </pc:spChg>
        <pc:spChg chg="mod">
          <ac:chgData name="Fatma Alsagaf" userId="ef587b5e-378a-4bb3-aa9f-3c15b98138a4" providerId="ADAL" clId="{3F5618C8-8D5E-4E2B-8F0D-3AAFE622726E}" dt="2024-06-24T06:30:42.305" v="7995" actId="1076"/>
          <ac:spMkLst>
            <pc:docMk/>
            <pc:sldMk cId="3372487229" sldId="2147473107"/>
            <ac:spMk id="51" creationId="{0A76A6A1-52D8-7380-FD94-BF2EC4654570}"/>
          </ac:spMkLst>
        </pc:spChg>
        <pc:spChg chg="mod">
          <ac:chgData name="Fatma Alsagaf" userId="ef587b5e-378a-4bb3-aa9f-3c15b98138a4" providerId="ADAL" clId="{3F5618C8-8D5E-4E2B-8F0D-3AAFE622726E}" dt="2024-06-24T06:50:28.546" v="8576" actId="404"/>
          <ac:spMkLst>
            <pc:docMk/>
            <pc:sldMk cId="3372487229" sldId="2147473107"/>
            <ac:spMk id="54" creationId="{BAC47CB1-A7F8-4130-755E-BAD5C46A29F4}"/>
          </ac:spMkLst>
        </pc:spChg>
        <pc:spChg chg="mod">
          <ac:chgData name="Fatma Alsagaf" userId="ef587b5e-378a-4bb3-aa9f-3c15b98138a4" providerId="ADAL" clId="{3F5618C8-8D5E-4E2B-8F0D-3AAFE622726E}" dt="2024-06-24T06:47:39.227" v="8411" actId="20577"/>
          <ac:spMkLst>
            <pc:docMk/>
            <pc:sldMk cId="3372487229" sldId="2147473107"/>
            <ac:spMk id="55" creationId="{8C2B06F1-2B12-69E6-AEDE-E339081DCBD9}"/>
          </ac:spMkLst>
        </pc:spChg>
        <pc:spChg chg="mod">
          <ac:chgData name="Fatma Alsagaf" userId="ef587b5e-378a-4bb3-aa9f-3c15b98138a4" providerId="ADAL" clId="{3F5618C8-8D5E-4E2B-8F0D-3AAFE622726E}" dt="2024-06-24T06:47:32.689" v="8409" actId="20577"/>
          <ac:spMkLst>
            <pc:docMk/>
            <pc:sldMk cId="3372487229" sldId="2147473107"/>
            <ac:spMk id="57" creationId="{4C9548EB-8556-10D5-6F75-B20C28212367}"/>
          </ac:spMkLst>
        </pc:spChg>
        <pc:spChg chg="mod">
          <ac:chgData name="Fatma Alsagaf" userId="ef587b5e-378a-4bb3-aa9f-3c15b98138a4" providerId="ADAL" clId="{3F5618C8-8D5E-4E2B-8F0D-3AAFE622726E}" dt="2024-06-24T06:09:46.435" v="7384" actId="20577"/>
          <ac:spMkLst>
            <pc:docMk/>
            <pc:sldMk cId="3372487229" sldId="2147473107"/>
            <ac:spMk id="58" creationId="{1233DE11-5965-3473-7349-8B62B9F91CEF}"/>
          </ac:spMkLst>
        </pc:spChg>
        <pc:spChg chg="mod">
          <ac:chgData name="Fatma Alsagaf" userId="ef587b5e-378a-4bb3-aa9f-3c15b98138a4" providerId="ADAL" clId="{3F5618C8-8D5E-4E2B-8F0D-3AAFE622726E}" dt="2024-06-24T06:50:25.248" v="8574" actId="1076"/>
          <ac:spMkLst>
            <pc:docMk/>
            <pc:sldMk cId="3372487229" sldId="2147473107"/>
            <ac:spMk id="61" creationId="{D0856328-CE13-10A7-E452-DBCE04CEDBF6}"/>
          </ac:spMkLst>
        </pc:spChg>
        <pc:spChg chg="mod">
          <ac:chgData name="Fatma Alsagaf" userId="ef587b5e-378a-4bb3-aa9f-3c15b98138a4" providerId="ADAL" clId="{3F5618C8-8D5E-4E2B-8F0D-3AAFE622726E}" dt="2024-06-24T06:10:48.577" v="7397" actId="1076"/>
          <ac:spMkLst>
            <pc:docMk/>
            <pc:sldMk cId="3372487229" sldId="2147473107"/>
            <ac:spMk id="62" creationId="{6EC4BDE6-8E94-7EB8-A5E7-13AB55B86E95}"/>
          </ac:spMkLst>
        </pc:spChg>
        <pc:spChg chg="mod">
          <ac:chgData name="Fatma Alsagaf" userId="ef587b5e-378a-4bb3-aa9f-3c15b98138a4" providerId="ADAL" clId="{3F5618C8-8D5E-4E2B-8F0D-3AAFE622726E}" dt="2024-06-24T06:47:30.474" v="8406" actId="20577"/>
          <ac:spMkLst>
            <pc:docMk/>
            <pc:sldMk cId="3372487229" sldId="2147473107"/>
            <ac:spMk id="65" creationId="{C91246D2-E65B-4E88-7F52-F0F83321145B}"/>
          </ac:spMkLst>
        </pc:spChg>
        <pc:spChg chg="mod">
          <ac:chgData name="Fatma Alsagaf" userId="ef587b5e-378a-4bb3-aa9f-3c15b98138a4" providerId="ADAL" clId="{3F5618C8-8D5E-4E2B-8F0D-3AAFE622726E}" dt="2024-06-24T06:10:19.220" v="7390" actId="6549"/>
          <ac:spMkLst>
            <pc:docMk/>
            <pc:sldMk cId="3372487229" sldId="2147473107"/>
            <ac:spMk id="66" creationId="{C1E5ACB0-5AF7-EE79-9FD3-2C8AFF758245}"/>
          </ac:spMkLst>
        </pc:spChg>
        <pc:spChg chg="add 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73" creationId="{0AEDD52E-C6BE-7224-DD7F-A8451AD898AF}"/>
          </ac:spMkLst>
        </pc:spChg>
        <pc:spChg chg="add mod">
          <ac:chgData name="Fatma Alsagaf" userId="ef587b5e-378a-4bb3-aa9f-3c15b98138a4" providerId="ADAL" clId="{3F5618C8-8D5E-4E2B-8F0D-3AAFE622726E}" dt="2024-06-24T06:01:54.120" v="7290"/>
          <ac:spMkLst>
            <pc:docMk/>
            <pc:sldMk cId="3372487229" sldId="2147473107"/>
            <ac:spMk id="74" creationId="{F388F366-5F4D-3045-7ED0-EB02D51CE913}"/>
          </ac:spMkLst>
        </pc:spChg>
        <pc:spChg chg="add mod">
          <ac:chgData name="Fatma Alsagaf" userId="ef587b5e-378a-4bb3-aa9f-3c15b98138a4" providerId="ADAL" clId="{3F5618C8-8D5E-4E2B-8F0D-3AAFE622726E}" dt="2024-06-24T06:22:33.952" v="7750" actId="404"/>
          <ac:spMkLst>
            <pc:docMk/>
            <pc:sldMk cId="3372487229" sldId="2147473107"/>
            <ac:spMk id="86" creationId="{8FCC0DB6-A1C4-E502-C634-EED30EECD961}"/>
          </ac:spMkLst>
        </pc:s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28" creationId="{670D2DC6-CD98-1761-673B-04DB67C36F5A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32" creationId="{46D46A8B-79CF-A4D5-ACF1-15F759341C51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36" creationId="{682AEFC9-5DEF-B11A-EEA5-FDFC1E95FD84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40" creationId="{8F444A25-C080-884D-4F4E-B7998074C8EA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44" creationId="{8B4C8ADC-D33E-14CB-186E-377CA6237EEE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49" creationId="{AE7D9500-27C7-CAB7-9057-D69B68B88FC7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53" creationId="{5D723EF8-F577-E097-DA64-BDB01C0AA928}"/>
          </ac:grpSpMkLst>
        </pc:grpChg>
        <pc:grpChg chg="add mod">
          <ac:chgData name="Fatma Alsagaf" userId="ef587b5e-378a-4bb3-aa9f-3c15b98138a4" providerId="ADAL" clId="{3F5618C8-8D5E-4E2B-8F0D-3AAFE622726E}" dt="2024-06-24T06:10:34.700" v="7392" actId="1076"/>
          <ac:grpSpMkLst>
            <pc:docMk/>
            <pc:sldMk cId="3372487229" sldId="2147473107"/>
            <ac:grpSpMk id="56" creationId="{3A77CCB6-D6E9-D755-A2A0-AFA6F39205C7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60" creationId="{F6702F6D-257F-6BFB-370E-47FE0324C2FF}"/>
          </ac:grpSpMkLst>
        </pc:grpChg>
        <pc:grpChg chg="add mod">
          <ac:chgData name="Fatma Alsagaf" userId="ef587b5e-378a-4bb3-aa9f-3c15b98138a4" providerId="ADAL" clId="{3F5618C8-8D5E-4E2B-8F0D-3AAFE622726E}" dt="2024-06-24T06:01:54.120" v="7290"/>
          <ac:grpSpMkLst>
            <pc:docMk/>
            <pc:sldMk cId="3372487229" sldId="2147473107"/>
            <ac:grpSpMk id="64" creationId="{709C1310-AB7B-F9FF-0BF0-606F4B7EE7C2}"/>
          </ac:grpSpMkLst>
        </pc:grpChg>
        <pc:picChg chg="add mod">
          <ac:chgData name="Fatma Alsagaf" userId="ef587b5e-378a-4bb3-aa9f-3c15b98138a4" providerId="ADAL" clId="{3F5618C8-8D5E-4E2B-8F0D-3AAFE622726E}" dt="2024-06-24T06:01:54.120" v="7290"/>
          <ac:picMkLst>
            <pc:docMk/>
            <pc:sldMk cId="3372487229" sldId="2147473107"/>
            <ac:picMk id="68" creationId="{9E82BD94-A494-C0FA-E8C2-699F769C2FE6}"/>
          </ac:picMkLst>
        </pc:picChg>
        <pc:picChg chg="add mod">
          <ac:chgData name="Fatma Alsagaf" userId="ef587b5e-378a-4bb3-aa9f-3c15b98138a4" providerId="ADAL" clId="{3F5618C8-8D5E-4E2B-8F0D-3AAFE622726E}" dt="2024-06-24T06:01:54.120" v="7290"/>
          <ac:picMkLst>
            <pc:docMk/>
            <pc:sldMk cId="3372487229" sldId="2147473107"/>
            <ac:picMk id="69" creationId="{66622480-2E8F-3514-2672-39E7DD45B618}"/>
          </ac:picMkLst>
        </pc:picChg>
        <pc:picChg chg="add mod">
          <ac:chgData name="Fatma Alsagaf" userId="ef587b5e-378a-4bb3-aa9f-3c15b98138a4" providerId="ADAL" clId="{3F5618C8-8D5E-4E2B-8F0D-3AAFE622726E}" dt="2024-06-24T06:01:54.120" v="7290"/>
          <ac:picMkLst>
            <pc:docMk/>
            <pc:sldMk cId="3372487229" sldId="2147473107"/>
            <ac:picMk id="70" creationId="{7E1E1B93-FB4E-4193-03F8-6DE16E96D0F0}"/>
          </ac:picMkLst>
        </pc:picChg>
        <pc:picChg chg="add mod">
          <ac:chgData name="Fatma Alsagaf" userId="ef587b5e-378a-4bb3-aa9f-3c15b98138a4" providerId="ADAL" clId="{3F5618C8-8D5E-4E2B-8F0D-3AAFE622726E}" dt="2024-06-24T06:01:54.120" v="7290"/>
          <ac:picMkLst>
            <pc:docMk/>
            <pc:sldMk cId="3372487229" sldId="2147473107"/>
            <ac:picMk id="71" creationId="{0D3BEF70-0E33-96EA-9B8D-581F0000B31E}"/>
          </ac:picMkLst>
        </pc:picChg>
        <pc:picChg chg="add mod">
          <ac:chgData name="Fatma Alsagaf" userId="ef587b5e-378a-4bb3-aa9f-3c15b98138a4" providerId="ADAL" clId="{3F5618C8-8D5E-4E2B-8F0D-3AAFE622726E}" dt="2024-06-24T06:01:54.120" v="7290"/>
          <ac:picMkLst>
            <pc:docMk/>
            <pc:sldMk cId="3372487229" sldId="2147473107"/>
            <ac:picMk id="72" creationId="{A422F25B-5004-A38F-99D4-AC4719636B99}"/>
          </ac:picMkLst>
        </pc:picChg>
        <pc:cxnChg chg="add mod">
          <ac:chgData name="Fatma Alsagaf" userId="ef587b5e-378a-4bb3-aa9f-3c15b98138a4" providerId="ADAL" clId="{3F5618C8-8D5E-4E2B-8F0D-3AAFE622726E}" dt="2024-06-24T06:01:54.120" v="7290"/>
          <ac:cxnSpMkLst>
            <pc:docMk/>
            <pc:sldMk cId="3372487229" sldId="2147473107"/>
            <ac:cxnSpMk id="48" creationId="{7C18B1F4-6871-60BA-F9ED-8BEEA8987A18}"/>
          </ac:cxnSpMkLst>
        </pc:cxnChg>
        <pc:cxnChg chg="add mod">
          <ac:chgData name="Fatma Alsagaf" userId="ef587b5e-378a-4bb3-aa9f-3c15b98138a4" providerId="ADAL" clId="{3F5618C8-8D5E-4E2B-8F0D-3AAFE622726E}" dt="2024-06-24T06:30:42.305" v="7995" actId="1076"/>
          <ac:cxnSpMkLst>
            <pc:docMk/>
            <pc:sldMk cId="3372487229" sldId="2147473107"/>
            <ac:cxnSpMk id="52" creationId="{8C04AACC-7782-038A-47B8-0E1D370BBEED}"/>
          </ac:cxnSpMkLst>
        </pc:cxnChg>
        <pc:cxnChg chg="add mod">
          <ac:chgData name="Fatma Alsagaf" userId="ef587b5e-378a-4bb3-aa9f-3c15b98138a4" providerId="ADAL" clId="{3F5618C8-8D5E-4E2B-8F0D-3AAFE622726E}" dt="2024-06-24T06:10:34.700" v="7392" actId="1076"/>
          <ac:cxnSpMkLst>
            <pc:docMk/>
            <pc:sldMk cId="3372487229" sldId="2147473107"/>
            <ac:cxnSpMk id="59" creationId="{72DC26B7-5B32-8F6E-14F3-0CA7A56D51C3}"/>
          </ac:cxnSpMkLst>
        </pc:cxnChg>
        <pc:cxnChg chg="add mod">
          <ac:chgData name="Fatma Alsagaf" userId="ef587b5e-378a-4bb3-aa9f-3c15b98138a4" providerId="ADAL" clId="{3F5618C8-8D5E-4E2B-8F0D-3AAFE622726E}" dt="2024-06-24T06:13:21.714" v="7455" actId="14100"/>
          <ac:cxnSpMkLst>
            <pc:docMk/>
            <pc:sldMk cId="3372487229" sldId="2147473107"/>
            <ac:cxnSpMk id="63" creationId="{B5EB0101-6369-4614-B665-0FC30FEBD5A0}"/>
          </ac:cxnSpMkLst>
        </pc:cxnChg>
        <pc:cxnChg chg="add mod">
          <ac:chgData name="Fatma Alsagaf" userId="ef587b5e-378a-4bb3-aa9f-3c15b98138a4" providerId="ADAL" clId="{3F5618C8-8D5E-4E2B-8F0D-3AAFE622726E}" dt="2024-06-24T06:27:16.755" v="7819" actId="20577"/>
          <ac:cxnSpMkLst>
            <pc:docMk/>
            <pc:sldMk cId="3372487229" sldId="2147473107"/>
            <ac:cxnSpMk id="67" creationId="{FBB4C0CE-BA35-76DE-FB04-699393503629}"/>
          </ac:cxnSpMkLst>
        </pc:cxnChg>
      </pc:sldChg>
      <pc:sldChg chg="addSp delSp modSp add del mod modShow">
        <pc:chgData name="Fatma Alsagaf" userId="ef587b5e-378a-4bb3-aa9f-3c15b98138a4" providerId="ADAL" clId="{3F5618C8-8D5E-4E2B-8F0D-3AAFE622726E}" dt="2024-06-24T09:38:21.164" v="9479" actId="47"/>
        <pc:sldMkLst>
          <pc:docMk/>
          <pc:sldMk cId="3054866651" sldId="2147473108"/>
        </pc:sldMkLst>
        <pc:spChg chg="del">
          <ac:chgData name="Fatma Alsagaf" userId="ef587b5e-378a-4bb3-aa9f-3c15b98138a4" providerId="ADAL" clId="{3F5618C8-8D5E-4E2B-8F0D-3AAFE622726E}" dt="2024-06-24T06:38:50.129" v="8251" actId="478"/>
          <ac:spMkLst>
            <pc:docMk/>
            <pc:sldMk cId="3054866651" sldId="2147473108"/>
            <ac:spMk id="5" creationId="{F284DA7C-FC5D-248C-35DC-CD625ACD093E}"/>
          </ac:spMkLst>
        </pc:spChg>
        <pc:spChg chg="add mod">
          <ac:chgData name="Fatma Alsagaf" userId="ef587b5e-378a-4bb3-aa9f-3c15b98138a4" providerId="ADAL" clId="{3F5618C8-8D5E-4E2B-8F0D-3AAFE622726E}" dt="2024-06-24T06:46:11.599" v="8314"/>
          <ac:spMkLst>
            <pc:docMk/>
            <pc:sldMk cId="3054866651" sldId="2147473108"/>
            <ac:spMk id="22" creationId="{565E09BB-F5D7-D84F-8537-C5EEE0378D30}"/>
          </ac:spMkLst>
        </pc:spChg>
        <pc:picChg chg="add mod">
          <ac:chgData name="Fatma Alsagaf" userId="ef587b5e-378a-4bb3-aa9f-3c15b98138a4" providerId="ADAL" clId="{3F5618C8-8D5E-4E2B-8F0D-3AAFE622726E}" dt="2024-06-24T06:38:55.561" v="8253"/>
          <ac:picMkLst>
            <pc:docMk/>
            <pc:sldMk cId="3054866651" sldId="2147473108"/>
            <ac:picMk id="2" creationId="{60764EF7-A66B-C9CA-6B2A-7D5E4E993DD5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3" creationId="{F7EFDBC1-39B3-A5F0-3F7E-14FF307EF638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7" creationId="{75A5FF54-F72B-DACD-F3CE-D334534BA750}"/>
          </ac:picMkLst>
        </pc:picChg>
        <pc:picChg chg="add mod">
          <ac:chgData name="Fatma Alsagaf" userId="ef587b5e-378a-4bb3-aa9f-3c15b98138a4" providerId="ADAL" clId="{3F5618C8-8D5E-4E2B-8F0D-3AAFE622726E}" dt="2024-06-24T06:39:23.440" v="8257" actId="1076"/>
          <ac:picMkLst>
            <pc:docMk/>
            <pc:sldMk cId="3054866651" sldId="2147473108"/>
            <ac:picMk id="8" creationId="{1DF50A6D-4ADD-D682-DEE2-4B58FB9F562C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9" creationId="{1BE0A7D9-9C1C-5F56-31AC-E60249A79959}"/>
          </ac:picMkLst>
        </pc:picChg>
        <pc:picChg chg="add mod">
          <ac:chgData name="Fatma Alsagaf" userId="ef587b5e-378a-4bb3-aa9f-3c15b98138a4" providerId="ADAL" clId="{3F5618C8-8D5E-4E2B-8F0D-3AAFE622726E}" dt="2024-06-24T06:40:18.459" v="8261" actId="1076"/>
          <ac:picMkLst>
            <pc:docMk/>
            <pc:sldMk cId="3054866651" sldId="2147473108"/>
            <ac:picMk id="10" creationId="{AC7602E4-4FC0-A672-9D58-A632430F5E62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1" creationId="{2EE07F5A-4F13-4339-1904-1B80AF53BF32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2" creationId="{02B9CB9F-EB2B-4497-840C-7F31BD3D1480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3" creationId="{8B64C8F4-7EFF-AA8A-E77A-39C54D7F799F}"/>
          </ac:picMkLst>
        </pc:picChg>
        <pc:picChg chg="add mod">
          <ac:chgData name="Fatma Alsagaf" userId="ef587b5e-378a-4bb3-aa9f-3c15b98138a4" providerId="ADAL" clId="{3F5618C8-8D5E-4E2B-8F0D-3AAFE622726E}" dt="2024-06-24T06:40:29.148" v="8264" actId="1076"/>
          <ac:picMkLst>
            <pc:docMk/>
            <pc:sldMk cId="3054866651" sldId="2147473108"/>
            <ac:picMk id="14" creationId="{CD7FA1FB-BD86-BEB4-C3FB-3B2AE3D63601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5" creationId="{803E70C0-0DD3-9E3C-A33F-CE977DC1AF4A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6" creationId="{96FAF56C-C14B-EE24-8B80-788F1E3AB114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7" creationId="{4C370D03-F188-55A9-BDAE-B4EBD38B8358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18" creationId="{16CC74AC-88AC-D75D-AB3D-585000EC4966}"/>
          </ac:picMkLst>
        </pc:picChg>
        <pc:picChg chg="add mod">
          <ac:chgData name="Fatma Alsagaf" userId="ef587b5e-378a-4bb3-aa9f-3c15b98138a4" providerId="ADAL" clId="{3F5618C8-8D5E-4E2B-8F0D-3AAFE622726E}" dt="2024-06-24T06:42:15.689" v="8280" actId="1076"/>
          <ac:picMkLst>
            <pc:docMk/>
            <pc:sldMk cId="3054866651" sldId="2147473108"/>
            <ac:picMk id="19" creationId="{AC834B94-6A99-A05E-15E7-80A80EEF373D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20" creationId="{15AC1D3D-3499-C0A5-43AA-FF70657D9D0B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21" creationId="{BCBC09CF-C682-F7F4-750D-B665234E8E8C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23" creationId="{2144F0F9-F057-C417-E48A-D86489E6EC7E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25" creationId="{BAE49A07-7D0B-D732-418F-8553BA18C5C4}"/>
          </ac:picMkLst>
        </pc:picChg>
        <pc:picChg chg="del">
          <ac:chgData name="Fatma Alsagaf" userId="ef587b5e-378a-4bb3-aa9f-3c15b98138a4" providerId="ADAL" clId="{3F5618C8-8D5E-4E2B-8F0D-3AAFE622726E}" dt="2024-06-24T06:38:50.129" v="8251" actId="478"/>
          <ac:picMkLst>
            <pc:docMk/>
            <pc:sldMk cId="3054866651" sldId="2147473108"/>
            <ac:picMk id="27" creationId="{EAEB7DC6-FD96-D551-5E9A-4740F51F886B}"/>
          </ac:picMkLst>
        </pc:picChg>
      </pc:sldChg>
      <pc:sldChg chg="addSp delSp modSp add del mod ord modShow">
        <pc:chgData name="Fatma Alsagaf" userId="ef587b5e-378a-4bb3-aa9f-3c15b98138a4" providerId="ADAL" clId="{3F5618C8-8D5E-4E2B-8F0D-3AAFE622726E}" dt="2024-06-24T09:38:23.961" v="9480" actId="47"/>
        <pc:sldMkLst>
          <pc:docMk/>
          <pc:sldMk cId="3839855671" sldId="2147473109"/>
        </pc:sldMkLst>
        <pc:spChg chg="del">
          <ac:chgData name="Fatma Alsagaf" userId="ef587b5e-378a-4bb3-aa9f-3c15b98138a4" providerId="ADAL" clId="{3F5618C8-8D5E-4E2B-8F0D-3AAFE622726E}" dt="2024-06-24T06:53:46.867" v="8600" actId="478"/>
          <ac:spMkLst>
            <pc:docMk/>
            <pc:sldMk cId="3839855671" sldId="2147473109"/>
            <ac:spMk id="14" creationId="{53F1A2EE-0C30-A195-919A-5D0F12174B1E}"/>
          </ac:spMkLst>
        </pc:spChg>
        <pc:picChg chg="add mod">
          <ac:chgData name="Fatma Alsagaf" userId="ef587b5e-378a-4bb3-aa9f-3c15b98138a4" providerId="ADAL" clId="{3F5618C8-8D5E-4E2B-8F0D-3AAFE622726E}" dt="2024-06-24T08:04:13.616" v="8848" actId="208"/>
          <ac:picMkLst>
            <pc:docMk/>
            <pc:sldMk cId="3839855671" sldId="2147473109"/>
            <ac:picMk id="2" creationId="{DF0B5745-5C01-2E7B-E0F8-47EE703A79DC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3" creationId="{C1248F77-7CA1-77FA-289E-DD6751EB6F13}"/>
          </ac:picMkLst>
        </pc:picChg>
        <pc:picChg chg="add mod">
          <ac:chgData name="Fatma Alsagaf" userId="ef587b5e-378a-4bb3-aa9f-3c15b98138a4" providerId="ADAL" clId="{3F5618C8-8D5E-4E2B-8F0D-3AAFE622726E}" dt="2024-06-24T08:04:13.616" v="8848" actId="208"/>
          <ac:picMkLst>
            <pc:docMk/>
            <pc:sldMk cId="3839855671" sldId="2147473109"/>
            <ac:picMk id="5" creationId="{B686DF39-1AB1-6570-FA52-39FBC455D383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7" creationId="{FDA79F6B-C357-0CF1-148B-16291E65C6DD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8" creationId="{2C182B26-494B-2BFC-AC03-6EC7599924A4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9" creationId="{D27120E0-72DB-652E-5E10-9CB2C8B2EA9A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10" creationId="{6FCF207E-31B8-F7F9-BF8D-0C5C8917C1B2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13" creationId="{ACA55C2A-A5D4-87E6-73BC-AD9360CDFD11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15" creationId="{CDA1812B-B084-646B-42D8-35ACC8034188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17" creationId="{387CF45A-CBCB-4949-43E4-D74EE259947B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18" creationId="{097AF50B-5987-5606-5640-F3AE8DFFA176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21" creationId="{09866C79-6DD7-A26F-79BE-51FFA77A405A}"/>
          </ac:picMkLst>
        </pc:picChg>
        <pc:picChg chg="del">
          <ac:chgData name="Fatma Alsagaf" userId="ef587b5e-378a-4bb3-aa9f-3c15b98138a4" providerId="ADAL" clId="{3F5618C8-8D5E-4E2B-8F0D-3AAFE622726E}" dt="2024-06-24T06:53:46.867" v="8600" actId="478"/>
          <ac:picMkLst>
            <pc:docMk/>
            <pc:sldMk cId="3839855671" sldId="2147473109"/>
            <ac:picMk id="23" creationId="{B3E3B930-B9A5-B5DF-D659-21B10DC99239}"/>
          </ac:picMkLst>
        </pc:picChg>
      </pc:sldChg>
      <pc:sldChg chg="add del">
        <pc:chgData name="Fatma Alsagaf" userId="ef587b5e-378a-4bb3-aa9f-3c15b98138a4" providerId="ADAL" clId="{3F5618C8-8D5E-4E2B-8F0D-3AAFE622726E}" dt="2024-07-02T12:32:53.510" v="10682"/>
        <pc:sldMkLst>
          <pc:docMk/>
          <pc:sldMk cId="348453967" sldId="2147478635"/>
        </pc:sldMkLst>
      </pc:sldChg>
      <pc:sldMasterChg chg="delSldLayout modSldLayout">
        <pc:chgData name="Fatma Alsagaf" userId="ef587b5e-378a-4bb3-aa9f-3c15b98138a4" providerId="ADAL" clId="{3F5618C8-8D5E-4E2B-8F0D-3AAFE622726E}" dt="2024-06-24T06:17:22.556" v="7564" actId="47"/>
        <pc:sldMasterMkLst>
          <pc:docMk/>
          <pc:sldMasterMk cId="1404354914" sldId="2147483712"/>
        </pc:sldMasterMkLst>
        <pc:sldLayoutChg chg="del">
          <pc:chgData name="Fatma Alsagaf" userId="ef587b5e-378a-4bb3-aa9f-3c15b98138a4" providerId="ADAL" clId="{3F5618C8-8D5E-4E2B-8F0D-3AAFE622726E}" dt="2024-06-20T17:46:44.830" v="3097" actId="47"/>
          <pc:sldLayoutMkLst>
            <pc:docMk/>
            <pc:sldMasterMk cId="1404354914" sldId="2147483712"/>
            <pc:sldLayoutMk cId="1864742990" sldId="2147483738"/>
          </pc:sldLayoutMkLst>
        </pc:sldLayoutChg>
        <pc:sldLayoutChg chg="addSp delSp del mod">
          <pc:chgData name="Fatma Alsagaf" userId="ef587b5e-378a-4bb3-aa9f-3c15b98138a4" providerId="ADAL" clId="{3F5618C8-8D5E-4E2B-8F0D-3AAFE622726E}" dt="2024-06-24T06:17:22.556" v="7564" actId="47"/>
          <pc:sldLayoutMkLst>
            <pc:docMk/>
            <pc:sldMasterMk cId="1404354914" sldId="2147483712"/>
            <pc:sldLayoutMk cId="1058521783" sldId="2147483742"/>
          </pc:sldLayoutMkLst>
          <pc:spChg chg="add del">
            <ac:chgData name="Fatma Alsagaf" userId="ef587b5e-378a-4bb3-aa9f-3c15b98138a4" providerId="ADAL" clId="{3F5618C8-8D5E-4E2B-8F0D-3AAFE622726E}" dt="2024-06-24T06:01:38.189" v="7283" actId="478"/>
            <ac:spMkLst>
              <pc:docMk/>
              <pc:sldMasterMk cId="1404354914" sldId="2147483712"/>
              <pc:sldLayoutMk cId="1058521783" sldId="2147483742"/>
              <ac:spMk id="13" creationId="{C89F4C13-B470-1D4C-A3C8-5C85B384C327}"/>
            </ac:spMkLst>
          </pc:spChg>
        </pc:sldLayoutChg>
      </pc:sldMasterChg>
      <pc:sldMasterChg chg="delSldLayout">
        <pc:chgData name="Fatma Alsagaf" userId="ef587b5e-378a-4bb3-aa9f-3c15b98138a4" providerId="ADAL" clId="{3F5618C8-8D5E-4E2B-8F0D-3AAFE622726E}" dt="2024-06-20T15:10:15.977" v="2514" actId="47"/>
        <pc:sldMasterMkLst>
          <pc:docMk/>
          <pc:sldMasterMk cId="386988239" sldId="2147483725"/>
        </pc:sldMasterMkLst>
        <pc:sldLayoutChg chg="del">
          <pc:chgData name="Fatma Alsagaf" userId="ef587b5e-378a-4bb3-aa9f-3c15b98138a4" providerId="ADAL" clId="{3F5618C8-8D5E-4E2B-8F0D-3AAFE622726E}" dt="2024-06-20T15:10:15.977" v="2514" actId="47"/>
          <pc:sldLayoutMkLst>
            <pc:docMk/>
            <pc:sldMasterMk cId="386988239" sldId="2147483725"/>
            <pc:sldLayoutMk cId="2747652719" sldId="2147483735"/>
          </pc:sldLayoutMkLst>
        </pc:sldLayoutChg>
      </pc:sldMasterChg>
    </pc:docChg>
  </pc:docChgLst>
  <pc:docChgLst>
    <pc:chgData name="Fatma Alsagaf" userId="ef587b5e-378a-4bb3-aa9f-3c15b98138a4" providerId="ADAL" clId="{3D834CEF-1DD0-4A60-8B3A-7566B2BAD6B7}"/>
    <pc:docChg chg="delSld modSld sldOrd">
      <pc:chgData name="Fatma Alsagaf" userId="ef587b5e-378a-4bb3-aa9f-3c15b98138a4" providerId="ADAL" clId="{3D834CEF-1DD0-4A60-8B3A-7566B2BAD6B7}" dt="2024-10-10T08:32:26.749" v="7" actId="729"/>
      <pc:docMkLst>
        <pc:docMk/>
      </pc:docMkLst>
      <pc:sldChg chg="del">
        <pc:chgData name="Fatma Alsagaf" userId="ef587b5e-378a-4bb3-aa9f-3c15b98138a4" providerId="ADAL" clId="{3D834CEF-1DD0-4A60-8B3A-7566B2BAD6B7}" dt="2024-10-10T08:31:59.444" v="0" actId="47"/>
        <pc:sldMkLst>
          <pc:docMk/>
          <pc:sldMk cId="3459152550" sldId="279"/>
        </pc:sldMkLst>
      </pc:sldChg>
      <pc:sldChg chg="mod ord modShow">
        <pc:chgData name="Fatma Alsagaf" userId="ef587b5e-378a-4bb3-aa9f-3c15b98138a4" providerId="ADAL" clId="{3D834CEF-1DD0-4A60-8B3A-7566B2BAD6B7}" dt="2024-10-10T08:32:26.749" v="7" actId="729"/>
        <pc:sldMkLst>
          <pc:docMk/>
          <pc:sldMk cId="2657307230" sldId="2147473105"/>
        </pc:sldMkLst>
      </pc:sldChg>
      <pc:sldChg chg="del">
        <pc:chgData name="Fatma Alsagaf" userId="ef587b5e-378a-4bb3-aa9f-3c15b98138a4" providerId="ADAL" clId="{3D834CEF-1DD0-4A60-8B3A-7566B2BAD6B7}" dt="2024-10-10T08:32:00.275" v="1" actId="47"/>
        <pc:sldMkLst>
          <pc:docMk/>
          <pc:sldMk cId="4188782415" sldId="2147473106"/>
        </pc:sldMkLst>
      </pc:sldChg>
      <pc:sldChg chg="mod ord modShow">
        <pc:chgData name="Fatma Alsagaf" userId="ef587b5e-378a-4bb3-aa9f-3c15b98138a4" providerId="ADAL" clId="{3D834CEF-1DD0-4A60-8B3A-7566B2BAD6B7}" dt="2024-10-10T08:32:22.916" v="6" actId="729"/>
        <pc:sldMkLst>
          <pc:docMk/>
          <pc:sldMk cId="3084414967" sldId="214747310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5EBB12-F392-47F3-ACCA-7B467EDE89ED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C6DF2-8C6B-43AE-9EFC-544F89186D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225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D3FA6E-4896-4B57-B418-2C0A9A53CB4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87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B3F5A-2990-4D4F-8131-524BF39CE4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863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B3F5A-2990-4D4F-8131-524BF39CE4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606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C6DF2-8C6B-43AE-9EFC-544F89186DA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935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C6DF2-8C6B-43AE-9EFC-544F89186DA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974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B3F5A-2990-4D4F-8131-524BF39CE4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0873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B3F5A-2990-4D4F-8131-524BF39CE4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268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B3F5A-2990-4D4F-8131-524BF39CE4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9123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95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5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7.xml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6" Type="http://schemas.openxmlformats.org/officeDocument/2006/relationships/tags" Target="../tags/tag44.xml"/><Relationship Id="rId21" Type="http://schemas.openxmlformats.org/officeDocument/2006/relationships/tags" Target="../tags/tag39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63" Type="http://schemas.openxmlformats.org/officeDocument/2006/relationships/tags" Target="../tags/tag81.xml"/><Relationship Id="rId68" Type="http://schemas.openxmlformats.org/officeDocument/2006/relationships/tags" Target="../tags/tag86.xml"/><Relationship Id="rId84" Type="http://schemas.openxmlformats.org/officeDocument/2006/relationships/tags" Target="../tags/tag102.xml"/><Relationship Id="rId89" Type="http://schemas.openxmlformats.org/officeDocument/2006/relationships/tags" Target="../tags/tag107.xml"/><Relationship Id="rId16" Type="http://schemas.openxmlformats.org/officeDocument/2006/relationships/tags" Target="../tags/tag34.xml"/><Relationship Id="rId107" Type="http://schemas.openxmlformats.org/officeDocument/2006/relationships/slideMaster" Target="../slideMasters/slideMaster1.xml"/><Relationship Id="rId11" Type="http://schemas.openxmlformats.org/officeDocument/2006/relationships/tags" Target="../tags/tag29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74" Type="http://schemas.openxmlformats.org/officeDocument/2006/relationships/tags" Target="../tags/tag92.xml"/><Relationship Id="rId79" Type="http://schemas.openxmlformats.org/officeDocument/2006/relationships/tags" Target="../tags/tag97.xml"/><Relationship Id="rId102" Type="http://schemas.openxmlformats.org/officeDocument/2006/relationships/tags" Target="../tags/tag120.xml"/><Relationship Id="rId5" Type="http://schemas.openxmlformats.org/officeDocument/2006/relationships/tags" Target="../tags/tag23.xml"/><Relationship Id="rId90" Type="http://schemas.openxmlformats.org/officeDocument/2006/relationships/tags" Target="../tags/tag108.xml"/><Relationship Id="rId95" Type="http://schemas.openxmlformats.org/officeDocument/2006/relationships/tags" Target="../tags/tag113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64" Type="http://schemas.openxmlformats.org/officeDocument/2006/relationships/tags" Target="../tags/tag82.xml"/><Relationship Id="rId69" Type="http://schemas.openxmlformats.org/officeDocument/2006/relationships/tags" Target="../tags/tag87.xml"/><Relationship Id="rId80" Type="http://schemas.openxmlformats.org/officeDocument/2006/relationships/tags" Target="../tags/tag98.xml"/><Relationship Id="rId85" Type="http://schemas.openxmlformats.org/officeDocument/2006/relationships/tags" Target="../tags/tag103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59" Type="http://schemas.openxmlformats.org/officeDocument/2006/relationships/tags" Target="../tags/tag77.xml"/><Relationship Id="rId103" Type="http://schemas.openxmlformats.org/officeDocument/2006/relationships/tags" Target="../tags/tag121.xml"/><Relationship Id="rId108" Type="http://schemas.openxmlformats.org/officeDocument/2006/relationships/oleObject" Target="../embeddings/oleObject3.bin"/><Relationship Id="rId54" Type="http://schemas.openxmlformats.org/officeDocument/2006/relationships/tags" Target="../tags/tag72.xml"/><Relationship Id="rId70" Type="http://schemas.openxmlformats.org/officeDocument/2006/relationships/tags" Target="../tags/tag88.xml"/><Relationship Id="rId75" Type="http://schemas.openxmlformats.org/officeDocument/2006/relationships/tags" Target="../tags/tag93.xml"/><Relationship Id="rId91" Type="http://schemas.openxmlformats.org/officeDocument/2006/relationships/tags" Target="../tags/tag109.xml"/><Relationship Id="rId96" Type="http://schemas.openxmlformats.org/officeDocument/2006/relationships/tags" Target="../tags/tag11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6" Type="http://schemas.openxmlformats.org/officeDocument/2006/relationships/tags" Target="../tags/tag124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65" Type="http://schemas.openxmlformats.org/officeDocument/2006/relationships/tags" Target="../tags/tag83.xml"/><Relationship Id="rId73" Type="http://schemas.openxmlformats.org/officeDocument/2006/relationships/tags" Target="../tags/tag91.xml"/><Relationship Id="rId78" Type="http://schemas.openxmlformats.org/officeDocument/2006/relationships/tags" Target="../tags/tag96.xml"/><Relationship Id="rId81" Type="http://schemas.openxmlformats.org/officeDocument/2006/relationships/tags" Target="../tags/tag99.xml"/><Relationship Id="rId86" Type="http://schemas.openxmlformats.org/officeDocument/2006/relationships/tags" Target="../tags/tag104.xml"/><Relationship Id="rId94" Type="http://schemas.openxmlformats.org/officeDocument/2006/relationships/tags" Target="../tags/tag112.xml"/><Relationship Id="rId99" Type="http://schemas.openxmlformats.org/officeDocument/2006/relationships/tags" Target="../tags/tag117.xml"/><Relationship Id="rId101" Type="http://schemas.openxmlformats.org/officeDocument/2006/relationships/tags" Target="../tags/tag119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9" Type="http://schemas.openxmlformats.org/officeDocument/2006/relationships/tags" Target="../tags/tag57.xml"/><Relationship Id="rId109" Type="http://schemas.openxmlformats.org/officeDocument/2006/relationships/image" Target="../media/image3.emf"/><Relationship Id="rId34" Type="http://schemas.openxmlformats.org/officeDocument/2006/relationships/tags" Target="../tags/tag52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76" Type="http://schemas.openxmlformats.org/officeDocument/2006/relationships/tags" Target="../tags/tag94.xml"/><Relationship Id="rId97" Type="http://schemas.openxmlformats.org/officeDocument/2006/relationships/tags" Target="../tags/tag115.xml"/><Relationship Id="rId104" Type="http://schemas.openxmlformats.org/officeDocument/2006/relationships/tags" Target="../tags/tag122.xml"/><Relationship Id="rId7" Type="http://schemas.openxmlformats.org/officeDocument/2006/relationships/tags" Target="../tags/tag25.xml"/><Relationship Id="rId71" Type="http://schemas.openxmlformats.org/officeDocument/2006/relationships/tags" Target="../tags/tag89.xml"/><Relationship Id="rId92" Type="http://schemas.openxmlformats.org/officeDocument/2006/relationships/tags" Target="../tags/tag110.xml"/><Relationship Id="rId2" Type="http://schemas.openxmlformats.org/officeDocument/2006/relationships/tags" Target="../tags/tag20.xml"/><Relationship Id="rId29" Type="http://schemas.openxmlformats.org/officeDocument/2006/relationships/tags" Target="../tags/tag47.xml"/><Relationship Id="rId24" Type="http://schemas.openxmlformats.org/officeDocument/2006/relationships/tags" Target="../tags/tag42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66" Type="http://schemas.openxmlformats.org/officeDocument/2006/relationships/tags" Target="../tags/tag84.xml"/><Relationship Id="rId87" Type="http://schemas.openxmlformats.org/officeDocument/2006/relationships/tags" Target="../tags/tag105.xml"/><Relationship Id="rId110" Type="http://schemas.openxmlformats.org/officeDocument/2006/relationships/image" Target="../media/image4.png"/><Relationship Id="rId61" Type="http://schemas.openxmlformats.org/officeDocument/2006/relationships/tags" Target="../tags/tag79.xml"/><Relationship Id="rId82" Type="http://schemas.openxmlformats.org/officeDocument/2006/relationships/tags" Target="../tags/tag100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56" Type="http://schemas.openxmlformats.org/officeDocument/2006/relationships/tags" Target="../tags/tag74.xml"/><Relationship Id="rId77" Type="http://schemas.openxmlformats.org/officeDocument/2006/relationships/tags" Target="../tags/tag95.xml"/><Relationship Id="rId100" Type="http://schemas.openxmlformats.org/officeDocument/2006/relationships/tags" Target="../tags/tag118.xml"/><Relationship Id="rId105" Type="http://schemas.openxmlformats.org/officeDocument/2006/relationships/tags" Target="../tags/tag123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72" Type="http://schemas.openxmlformats.org/officeDocument/2006/relationships/tags" Target="../tags/tag90.xml"/><Relationship Id="rId93" Type="http://schemas.openxmlformats.org/officeDocument/2006/relationships/tags" Target="../tags/tag111.xml"/><Relationship Id="rId98" Type="http://schemas.openxmlformats.org/officeDocument/2006/relationships/tags" Target="../tags/tag116.xml"/><Relationship Id="rId3" Type="http://schemas.openxmlformats.org/officeDocument/2006/relationships/tags" Target="../tags/tag21.xml"/><Relationship Id="rId25" Type="http://schemas.openxmlformats.org/officeDocument/2006/relationships/tags" Target="../tags/tag43.xml"/><Relationship Id="rId46" Type="http://schemas.openxmlformats.org/officeDocument/2006/relationships/tags" Target="../tags/tag64.xml"/><Relationship Id="rId67" Type="http://schemas.openxmlformats.org/officeDocument/2006/relationships/tags" Target="../tags/tag85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62" Type="http://schemas.openxmlformats.org/officeDocument/2006/relationships/tags" Target="../tags/tag80.xml"/><Relationship Id="rId83" Type="http://schemas.openxmlformats.org/officeDocument/2006/relationships/tags" Target="../tags/tag101.xml"/><Relationship Id="rId88" Type="http://schemas.openxmlformats.org/officeDocument/2006/relationships/tags" Target="../tags/tag106.xml"/><Relationship Id="rId111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26" Type="http://schemas.openxmlformats.org/officeDocument/2006/relationships/tags" Target="../tags/tag198.xml"/><Relationship Id="rId21" Type="http://schemas.openxmlformats.org/officeDocument/2006/relationships/tags" Target="../tags/tag193.xml"/><Relationship Id="rId42" Type="http://schemas.openxmlformats.org/officeDocument/2006/relationships/tags" Target="../tags/tag214.xml"/><Relationship Id="rId47" Type="http://schemas.openxmlformats.org/officeDocument/2006/relationships/tags" Target="../tags/tag219.xml"/><Relationship Id="rId63" Type="http://schemas.openxmlformats.org/officeDocument/2006/relationships/tags" Target="../tags/tag235.xml"/><Relationship Id="rId68" Type="http://schemas.openxmlformats.org/officeDocument/2006/relationships/tags" Target="../tags/tag240.xml"/><Relationship Id="rId84" Type="http://schemas.openxmlformats.org/officeDocument/2006/relationships/tags" Target="../tags/tag256.xml"/><Relationship Id="rId89" Type="http://schemas.openxmlformats.org/officeDocument/2006/relationships/tags" Target="../tags/tag261.xml"/><Relationship Id="rId16" Type="http://schemas.openxmlformats.org/officeDocument/2006/relationships/tags" Target="../tags/tag188.xml"/><Relationship Id="rId107" Type="http://schemas.openxmlformats.org/officeDocument/2006/relationships/slideMaster" Target="../slideMasters/slideMaster3.xml"/><Relationship Id="rId11" Type="http://schemas.openxmlformats.org/officeDocument/2006/relationships/tags" Target="../tags/tag183.xml"/><Relationship Id="rId32" Type="http://schemas.openxmlformats.org/officeDocument/2006/relationships/tags" Target="../tags/tag204.xml"/><Relationship Id="rId37" Type="http://schemas.openxmlformats.org/officeDocument/2006/relationships/tags" Target="../tags/tag209.xml"/><Relationship Id="rId53" Type="http://schemas.openxmlformats.org/officeDocument/2006/relationships/tags" Target="../tags/tag225.xml"/><Relationship Id="rId58" Type="http://schemas.openxmlformats.org/officeDocument/2006/relationships/tags" Target="../tags/tag230.xml"/><Relationship Id="rId74" Type="http://schemas.openxmlformats.org/officeDocument/2006/relationships/tags" Target="../tags/tag246.xml"/><Relationship Id="rId79" Type="http://schemas.openxmlformats.org/officeDocument/2006/relationships/tags" Target="../tags/tag251.xml"/><Relationship Id="rId102" Type="http://schemas.openxmlformats.org/officeDocument/2006/relationships/tags" Target="../tags/tag274.xml"/><Relationship Id="rId5" Type="http://schemas.openxmlformats.org/officeDocument/2006/relationships/tags" Target="../tags/tag177.xml"/><Relationship Id="rId90" Type="http://schemas.openxmlformats.org/officeDocument/2006/relationships/tags" Target="../tags/tag262.xml"/><Relationship Id="rId95" Type="http://schemas.openxmlformats.org/officeDocument/2006/relationships/tags" Target="../tags/tag267.xml"/><Relationship Id="rId22" Type="http://schemas.openxmlformats.org/officeDocument/2006/relationships/tags" Target="../tags/tag194.xml"/><Relationship Id="rId27" Type="http://schemas.openxmlformats.org/officeDocument/2006/relationships/tags" Target="../tags/tag199.xml"/><Relationship Id="rId43" Type="http://schemas.openxmlformats.org/officeDocument/2006/relationships/tags" Target="../tags/tag215.xml"/><Relationship Id="rId48" Type="http://schemas.openxmlformats.org/officeDocument/2006/relationships/tags" Target="../tags/tag220.xml"/><Relationship Id="rId64" Type="http://schemas.openxmlformats.org/officeDocument/2006/relationships/tags" Target="../tags/tag236.xml"/><Relationship Id="rId69" Type="http://schemas.openxmlformats.org/officeDocument/2006/relationships/tags" Target="../tags/tag241.xml"/><Relationship Id="rId80" Type="http://schemas.openxmlformats.org/officeDocument/2006/relationships/tags" Target="../tags/tag252.xml"/><Relationship Id="rId85" Type="http://schemas.openxmlformats.org/officeDocument/2006/relationships/tags" Target="../tags/tag257.xml"/><Relationship Id="rId12" Type="http://schemas.openxmlformats.org/officeDocument/2006/relationships/tags" Target="../tags/tag184.xml"/><Relationship Id="rId17" Type="http://schemas.openxmlformats.org/officeDocument/2006/relationships/tags" Target="../tags/tag189.xml"/><Relationship Id="rId33" Type="http://schemas.openxmlformats.org/officeDocument/2006/relationships/tags" Target="../tags/tag205.xml"/><Relationship Id="rId38" Type="http://schemas.openxmlformats.org/officeDocument/2006/relationships/tags" Target="../tags/tag210.xml"/><Relationship Id="rId59" Type="http://schemas.openxmlformats.org/officeDocument/2006/relationships/tags" Target="../tags/tag231.xml"/><Relationship Id="rId103" Type="http://schemas.openxmlformats.org/officeDocument/2006/relationships/tags" Target="../tags/tag275.xml"/><Relationship Id="rId108" Type="http://schemas.openxmlformats.org/officeDocument/2006/relationships/oleObject" Target="../embeddings/oleObject17.bin"/><Relationship Id="rId54" Type="http://schemas.openxmlformats.org/officeDocument/2006/relationships/tags" Target="../tags/tag226.xml"/><Relationship Id="rId70" Type="http://schemas.openxmlformats.org/officeDocument/2006/relationships/tags" Target="../tags/tag242.xml"/><Relationship Id="rId75" Type="http://schemas.openxmlformats.org/officeDocument/2006/relationships/tags" Target="../tags/tag247.xml"/><Relationship Id="rId91" Type="http://schemas.openxmlformats.org/officeDocument/2006/relationships/tags" Target="../tags/tag263.xml"/><Relationship Id="rId96" Type="http://schemas.openxmlformats.org/officeDocument/2006/relationships/tags" Target="../tags/tag268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5" Type="http://schemas.openxmlformats.org/officeDocument/2006/relationships/tags" Target="../tags/tag187.xml"/><Relationship Id="rId23" Type="http://schemas.openxmlformats.org/officeDocument/2006/relationships/tags" Target="../tags/tag195.xml"/><Relationship Id="rId28" Type="http://schemas.openxmlformats.org/officeDocument/2006/relationships/tags" Target="../tags/tag200.xml"/><Relationship Id="rId36" Type="http://schemas.openxmlformats.org/officeDocument/2006/relationships/tags" Target="../tags/tag208.xml"/><Relationship Id="rId49" Type="http://schemas.openxmlformats.org/officeDocument/2006/relationships/tags" Target="../tags/tag221.xml"/><Relationship Id="rId57" Type="http://schemas.openxmlformats.org/officeDocument/2006/relationships/tags" Target="../tags/tag229.xml"/><Relationship Id="rId106" Type="http://schemas.openxmlformats.org/officeDocument/2006/relationships/tags" Target="../tags/tag278.xml"/><Relationship Id="rId10" Type="http://schemas.openxmlformats.org/officeDocument/2006/relationships/tags" Target="../tags/tag182.xml"/><Relationship Id="rId31" Type="http://schemas.openxmlformats.org/officeDocument/2006/relationships/tags" Target="../tags/tag203.xml"/><Relationship Id="rId44" Type="http://schemas.openxmlformats.org/officeDocument/2006/relationships/tags" Target="../tags/tag216.xml"/><Relationship Id="rId52" Type="http://schemas.openxmlformats.org/officeDocument/2006/relationships/tags" Target="../tags/tag224.xml"/><Relationship Id="rId60" Type="http://schemas.openxmlformats.org/officeDocument/2006/relationships/tags" Target="../tags/tag232.xml"/><Relationship Id="rId65" Type="http://schemas.openxmlformats.org/officeDocument/2006/relationships/tags" Target="../tags/tag237.xml"/><Relationship Id="rId73" Type="http://schemas.openxmlformats.org/officeDocument/2006/relationships/tags" Target="../tags/tag245.xml"/><Relationship Id="rId78" Type="http://schemas.openxmlformats.org/officeDocument/2006/relationships/tags" Target="../tags/tag250.xml"/><Relationship Id="rId81" Type="http://schemas.openxmlformats.org/officeDocument/2006/relationships/tags" Target="../tags/tag253.xml"/><Relationship Id="rId86" Type="http://schemas.openxmlformats.org/officeDocument/2006/relationships/tags" Target="../tags/tag258.xml"/><Relationship Id="rId94" Type="http://schemas.openxmlformats.org/officeDocument/2006/relationships/tags" Target="../tags/tag266.xml"/><Relationship Id="rId99" Type="http://schemas.openxmlformats.org/officeDocument/2006/relationships/tags" Target="../tags/tag271.xml"/><Relationship Id="rId101" Type="http://schemas.openxmlformats.org/officeDocument/2006/relationships/tags" Target="../tags/tag273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3" Type="http://schemas.openxmlformats.org/officeDocument/2006/relationships/tags" Target="../tags/tag185.xml"/><Relationship Id="rId18" Type="http://schemas.openxmlformats.org/officeDocument/2006/relationships/tags" Target="../tags/tag190.xml"/><Relationship Id="rId39" Type="http://schemas.openxmlformats.org/officeDocument/2006/relationships/tags" Target="../tags/tag211.xml"/><Relationship Id="rId109" Type="http://schemas.openxmlformats.org/officeDocument/2006/relationships/image" Target="../media/image3.emf"/><Relationship Id="rId34" Type="http://schemas.openxmlformats.org/officeDocument/2006/relationships/tags" Target="../tags/tag206.xml"/><Relationship Id="rId50" Type="http://schemas.openxmlformats.org/officeDocument/2006/relationships/tags" Target="../tags/tag222.xml"/><Relationship Id="rId55" Type="http://schemas.openxmlformats.org/officeDocument/2006/relationships/tags" Target="../tags/tag227.xml"/><Relationship Id="rId76" Type="http://schemas.openxmlformats.org/officeDocument/2006/relationships/tags" Target="../tags/tag248.xml"/><Relationship Id="rId97" Type="http://schemas.openxmlformats.org/officeDocument/2006/relationships/tags" Target="../tags/tag269.xml"/><Relationship Id="rId104" Type="http://schemas.openxmlformats.org/officeDocument/2006/relationships/tags" Target="../tags/tag276.xml"/><Relationship Id="rId7" Type="http://schemas.openxmlformats.org/officeDocument/2006/relationships/tags" Target="../tags/tag179.xml"/><Relationship Id="rId71" Type="http://schemas.openxmlformats.org/officeDocument/2006/relationships/tags" Target="../tags/tag243.xml"/><Relationship Id="rId92" Type="http://schemas.openxmlformats.org/officeDocument/2006/relationships/tags" Target="../tags/tag264.xml"/><Relationship Id="rId2" Type="http://schemas.openxmlformats.org/officeDocument/2006/relationships/tags" Target="../tags/tag174.xml"/><Relationship Id="rId29" Type="http://schemas.openxmlformats.org/officeDocument/2006/relationships/tags" Target="../tags/tag201.xml"/><Relationship Id="rId24" Type="http://schemas.openxmlformats.org/officeDocument/2006/relationships/tags" Target="../tags/tag196.xml"/><Relationship Id="rId40" Type="http://schemas.openxmlformats.org/officeDocument/2006/relationships/tags" Target="../tags/tag212.xml"/><Relationship Id="rId45" Type="http://schemas.openxmlformats.org/officeDocument/2006/relationships/tags" Target="../tags/tag217.xml"/><Relationship Id="rId66" Type="http://schemas.openxmlformats.org/officeDocument/2006/relationships/tags" Target="../tags/tag238.xml"/><Relationship Id="rId87" Type="http://schemas.openxmlformats.org/officeDocument/2006/relationships/tags" Target="../tags/tag259.xml"/><Relationship Id="rId110" Type="http://schemas.openxmlformats.org/officeDocument/2006/relationships/image" Target="../media/image4.png"/><Relationship Id="rId61" Type="http://schemas.openxmlformats.org/officeDocument/2006/relationships/tags" Target="../tags/tag233.xml"/><Relationship Id="rId82" Type="http://schemas.openxmlformats.org/officeDocument/2006/relationships/tags" Target="../tags/tag254.xml"/><Relationship Id="rId19" Type="http://schemas.openxmlformats.org/officeDocument/2006/relationships/tags" Target="../tags/tag191.xml"/><Relationship Id="rId14" Type="http://schemas.openxmlformats.org/officeDocument/2006/relationships/tags" Target="../tags/tag186.xml"/><Relationship Id="rId30" Type="http://schemas.openxmlformats.org/officeDocument/2006/relationships/tags" Target="../tags/tag202.xml"/><Relationship Id="rId35" Type="http://schemas.openxmlformats.org/officeDocument/2006/relationships/tags" Target="../tags/tag207.xml"/><Relationship Id="rId56" Type="http://schemas.openxmlformats.org/officeDocument/2006/relationships/tags" Target="../tags/tag228.xml"/><Relationship Id="rId77" Type="http://schemas.openxmlformats.org/officeDocument/2006/relationships/tags" Target="../tags/tag249.xml"/><Relationship Id="rId100" Type="http://schemas.openxmlformats.org/officeDocument/2006/relationships/tags" Target="../tags/tag272.xml"/><Relationship Id="rId105" Type="http://schemas.openxmlformats.org/officeDocument/2006/relationships/tags" Target="../tags/tag277.xml"/><Relationship Id="rId8" Type="http://schemas.openxmlformats.org/officeDocument/2006/relationships/tags" Target="../tags/tag180.xml"/><Relationship Id="rId51" Type="http://schemas.openxmlformats.org/officeDocument/2006/relationships/tags" Target="../tags/tag223.xml"/><Relationship Id="rId72" Type="http://schemas.openxmlformats.org/officeDocument/2006/relationships/tags" Target="../tags/tag244.xml"/><Relationship Id="rId93" Type="http://schemas.openxmlformats.org/officeDocument/2006/relationships/tags" Target="../tags/tag265.xml"/><Relationship Id="rId98" Type="http://schemas.openxmlformats.org/officeDocument/2006/relationships/tags" Target="../tags/tag270.xml"/><Relationship Id="rId3" Type="http://schemas.openxmlformats.org/officeDocument/2006/relationships/tags" Target="../tags/tag175.xml"/><Relationship Id="rId25" Type="http://schemas.openxmlformats.org/officeDocument/2006/relationships/tags" Target="../tags/tag197.xml"/><Relationship Id="rId46" Type="http://schemas.openxmlformats.org/officeDocument/2006/relationships/tags" Target="../tags/tag218.xml"/><Relationship Id="rId67" Type="http://schemas.openxmlformats.org/officeDocument/2006/relationships/tags" Target="../tags/tag239.xml"/><Relationship Id="rId20" Type="http://schemas.openxmlformats.org/officeDocument/2006/relationships/tags" Target="../tags/tag192.xml"/><Relationship Id="rId41" Type="http://schemas.openxmlformats.org/officeDocument/2006/relationships/tags" Target="../tags/tag213.xml"/><Relationship Id="rId62" Type="http://schemas.openxmlformats.org/officeDocument/2006/relationships/tags" Target="../tags/tag234.xml"/><Relationship Id="rId83" Type="http://schemas.openxmlformats.org/officeDocument/2006/relationships/tags" Target="../tags/tag255.xml"/><Relationship Id="rId88" Type="http://schemas.openxmlformats.org/officeDocument/2006/relationships/tags" Target="../tags/tag260.xml"/><Relationship Id="rId111" Type="http://schemas.microsoft.com/office/2007/relationships/hdphoto" Target="../media/hdphoto1.wdp"/></Relationships>
</file>

<file path=ppt/slideLayouts/_rels/slideLayout2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18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9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1.xml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2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3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image" Target="NULL"/><Relationship Id="rId4" Type="http://schemas.openxmlformats.org/officeDocument/2006/relationships/oleObject" Target="../embeddings/oleObject26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08726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C26ABB-FC4A-46D6-9B14-76F3BA8E5F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lIns="0" rIns="0"/>
          <a:lstStyle>
            <a:lvl1pPr marL="0" indent="0"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AB8292E-A672-4967-80F1-42DA6F4C84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" y="690183"/>
            <a:ext cx="11544300" cy="38047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</a:lstStyle>
          <a:p>
            <a:pPr lvl="0"/>
            <a:r>
              <a:rPr lang="en-US"/>
              <a:t>Click to edit 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0ADDAD-0E22-46A8-93E6-E51854C37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r="84418" b="9333"/>
          <a:stretch/>
        </p:blipFill>
        <p:spPr>
          <a:xfrm>
            <a:off x="7949523" y="1584527"/>
            <a:ext cx="4242477" cy="497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175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790C1-778D-449B-9C8D-C9FC1B327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MM.DD.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FF8FD5-F70C-4F63-B90E-47DD23FC0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5E539-C700-4989-957A-EA3BAAC4B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9B2652-8511-4839-BEE4-52E3C2B884D9}"/>
              </a:ext>
            </a:extLst>
          </p:cNvPr>
          <p:cNvSpPr/>
          <p:nvPr userDrawn="1"/>
        </p:nvSpPr>
        <p:spPr>
          <a:xfrm>
            <a:off x="11352214" y="6246908"/>
            <a:ext cx="839787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8EFAFB9-41FD-471B-8C26-B5481B74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56086" y="797157"/>
            <a:ext cx="5679831" cy="619448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algn="ctr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925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</a:t>
            </a:r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EE15F6C3-281B-4328-BDB8-4C898228A1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789" y="774398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59B93CA-5AD1-43A8-AF37-7DA25D3B400E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5212360" y="1865306"/>
            <a:ext cx="6103964" cy="815993"/>
          </a:xfrm>
          <a:prstGeom prst="rect">
            <a:avLst/>
          </a:prstGeom>
        </p:spPr>
        <p:txBody>
          <a:bodyPr lIns="36000" tIns="0" rIns="0" bIns="0" anchor="t" anchorCtr="0">
            <a:normAutofit/>
          </a:bodyPr>
          <a:lstStyle>
            <a:lvl1pPr marL="0" indent="0">
              <a:buNone/>
              <a:defRPr sz="1463" b="1" i="1">
                <a:solidFill>
                  <a:schemeClr val="tx1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07EA497-80B1-41E2-8E50-4193B3DBB456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838199" y="3126698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EA39902-3138-4686-85B5-3FE813B7BD36}"/>
              </a:ext>
            </a:extLst>
          </p:cNvPr>
          <p:cNvSpPr/>
          <p:nvPr userDrawn="1"/>
        </p:nvSpPr>
        <p:spPr>
          <a:xfrm>
            <a:off x="1798321" y="3126698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7D767E78-191D-404C-98CB-C65C651DC6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1254" y="3329723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1 Name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6474358B-E609-4F26-8A11-64E0DC41AD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2833" y="3658534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61" name="Picture Placeholder 7">
            <a:extLst>
              <a:ext uri="{FF2B5EF4-FFF2-40B4-BE49-F238E27FC236}">
                <a16:creationId xmlns:a16="http://schemas.microsoft.com/office/drawing/2014/main" id="{75335C46-548C-42F2-89FC-909F3B24282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977409" y="3126698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66A588B-BA73-49FD-9E1E-1F1C51FD3850}"/>
              </a:ext>
            </a:extLst>
          </p:cNvPr>
          <p:cNvSpPr/>
          <p:nvPr userDrawn="1"/>
        </p:nvSpPr>
        <p:spPr>
          <a:xfrm>
            <a:off x="8937529" y="3126698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15790237-9A5F-4A9F-A5BB-E4FF0712C5E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60464" y="3329723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3 Name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A0554067-4F62-4CE7-AF48-55BBD708AC9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062041" y="3658534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65" name="Picture Placeholder 7">
            <a:extLst>
              <a:ext uri="{FF2B5EF4-FFF2-40B4-BE49-F238E27FC236}">
                <a16:creationId xmlns:a16="http://schemas.microsoft.com/office/drawing/2014/main" id="{AA1B0DE9-602F-4ECB-AF1E-00D45491BC91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4403916" y="3126698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43DD23D-9D79-4667-BB9E-A3A54505AEDA}"/>
              </a:ext>
            </a:extLst>
          </p:cNvPr>
          <p:cNvSpPr/>
          <p:nvPr userDrawn="1"/>
        </p:nvSpPr>
        <p:spPr>
          <a:xfrm>
            <a:off x="5364038" y="3126698"/>
            <a:ext cx="2399617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FFDAE67E-CF93-4600-BFAE-AF6B317A9EB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86971" y="3329723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2 Name</a:t>
            </a:r>
          </a:p>
        </p:txBody>
      </p:sp>
      <p:sp>
        <p:nvSpPr>
          <p:cNvPr id="68" name="Text Placeholder 17">
            <a:extLst>
              <a:ext uri="{FF2B5EF4-FFF2-40B4-BE49-F238E27FC236}">
                <a16:creationId xmlns:a16="http://schemas.microsoft.com/office/drawing/2014/main" id="{0F0E3D9A-B0CE-4BF9-A274-1FB704C416E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88548" y="3658534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69" name="Picture Placeholder 7">
            <a:extLst>
              <a:ext uri="{FF2B5EF4-FFF2-40B4-BE49-F238E27FC236}">
                <a16:creationId xmlns:a16="http://schemas.microsoft.com/office/drawing/2014/main" id="{36B2F594-9AB1-4C33-86BE-4732609D6B0A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278465" y="4316113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7FB6684-D013-48BC-9926-29E0BCA889B1}"/>
              </a:ext>
            </a:extLst>
          </p:cNvPr>
          <p:cNvSpPr/>
          <p:nvPr userDrawn="1"/>
        </p:nvSpPr>
        <p:spPr>
          <a:xfrm>
            <a:off x="2238586" y="4316113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EECC50BE-82E8-4ECC-B642-5C11A927A70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361520" y="4519138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4 Name</a:t>
            </a:r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4D96D406-D0F6-4E2D-BAE8-7B011D620FE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363098" y="4847949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73" name="Picture Placeholder 7">
            <a:extLst>
              <a:ext uri="{FF2B5EF4-FFF2-40B4-BE49-F238E27FC236}">
                <a16:creationId xmlns:a16="http://schemas.microsoft.com/office/drawing/2014/main" id="{5668E7D0-A78F-45EC-BEC4-CAB0E6F96F3D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8417675" y="4316113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02DAEE6-8B1C-4222-949F-830F7C3A4E16}"/>
              </a:ext>
            </a:extLst>
          </p:cNvPr>
          <p:cNvSpPr/>
          <p:nvPr userDrawn="1"/>
        </p:nvSpPr>
        <p:spPr>
          <a:xfrm>
            <a:off x="9377795" y="4316113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3CE9A073-35B5-4F1C-85E3-4BB12A5F435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0729" y="4519138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6 Name</a:t>
            </a:r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F7309B33-C344-4C68-8156-822D38F43FE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2308" y="4847949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77" name="Picture Placeholder 7">
            <a:extLst>
              <a:ext uri="{FF2B5EF4-FFF2-40B4-BE49-F238E27FC236}">
                <a16:creationId xmlns:a16="http://schemas.microsoft.com/office/drawing/2014/main" id="{D6B0782E-8C48-4FC4-B086-A5606E01F5DB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4844182" y="4316113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195F5-3125-484A-954D-EB0E743F6947}"/>
              </a:ext>
            </a:extLst>
          </p:cNvPr>
          <p:cNvSpPr/>
          <p:nvPr userDrawn="1"/>
        </p:nvSpPr>
        <p:spPr>
          <a:xfrm>
            <a:off x="5804304" y="4316113"/>
            <a:ext cx="2399617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79" name="Text Placeholder 17">
            <a:extLst>
              <a:ext uri="{FF2B5EF4-FFF2-40B4-BE49-F238E27FC236}">
                <a16:creationId xmlns:a16="http://schemas.microsoft.com/office/drawing/2014/main" id="{428D2D4B-ED0B-40E0-9ECD-C95A1903990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27237" y="4519138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5 Name</a:t>
            </a:r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35125C72-EAD5-4723-BBD0-6B22FA0785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928814" y="4847949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33" name="Rectangle 63" descr="Rectangle shape">
            <a:extLst>
              <a:ext uri="{FF2B5EF4-FFF2-40B4-BE49-F238E27FC236}">
                <a16:creationId xmlns:a16="http://schemas.microsoft.com/office/drawing/2014/main" id="{ACFA1245-86BF-45AA-B492-5CE7275AFF80}"/>
              </a:ext>
            </a:extLst>
          </p:cNvPr>
          <p:cNvSpPr/>
          <p:nvPr userDrawn="1"/>
        </p:nvSpPr>
        <p:spPr>
          <a:xfrm>
            <a:off x="1" y="1516317"/>
            <a:ext cx="8076794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1337446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s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9E029D3-A2D2-4959-AD45-2926DF4C67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9A919AF-E573-4B3C-8E98-F501EABA1B1B}"/>
              </a:ext>
            </a:extLst>
          </p:cNvPr>
          <p:cNvSpPr/>
          <p:nvPr userDrawn="1"/>
        </p:nvSpPr>
        <p:spPr>
          <a:xfrm>
            <a:off x="4108011" y="765175"/>
            <a:ext cx="3990526" cy="17561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20" name="Rectangle 18" descr="Rectangle shape">
            <a:extLst>
              <a:ext uri="{FF2B5EF4-FFF2-40B4-BE49-F238E27FC236}">
                <a16:creationId xmlns:a16="http://schemas.microsoft.com/office/drawing/2014/main" id="{456AD312-1A1E-4043-B08C-1410D3EDEC27}"/>
              </a:ext>
            </a:extLst>
          </p:cNvPr>
          <p:cNvSpPr/>
          <p:nvPr userDrawn="1"/>
        </p:nvSpPr>
        <p:spPr>
          <a:xfrm>
            <a:off x="1" y="5262290"/>
            <a:ext cx="12191999" cy="7772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63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EB3FF-7F57-482E-BA1B-44AD9E95F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824308D-CE80-4FF7-81BB-AFBECF7EA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3465" y="2521330"/>
            <a:ext cx="4005072" cy="2740961"/>
          </a:xfrm>
          <a:prstGeom prst="rect">
            <a:avLst/>
          </a:prstGeom>
          <a:solidFill>
            <a:schemeClr val="tx1"/>
          </a:solidFill>
        </p:spPr>
        <p:txBody>
          <a:bodyPr tIns="72000" rIns="72000" bIns="792000" anchor="b">
            <a:normAutofit/>
          </a:bodyPr>
          <a:lstStyle>
            <a:lvl1pPr algn="ctr">
              <a:lnSpc>
                <a:spcPct val="85000"/>
              </a:lnSpc>
              <a:defRPr lang="ru-RU" sz="4875" b="1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THANK</a:t>
            </a:r>
            <a:br>
              <a:rPr lang="en-US" noProof="0"/>
            </a:br>
            <a:r>
              <a:rPr lang="en-US" noProof="0"/>
              <a:t>YOU!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E46EE0C-8420-4BA8-9E2D-0780DB1E65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30141" y="1338610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1ACAC3-4604-4C09-A60E-353A71E93E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18039" y="4541163"/>
            <a:ext cx="3038475" cy="5905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ugust Bergqvi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7AD3B8E-A11F-4EAE-94E5-5A918EEFB7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8558" y="5378325"/>
            <a:ext cx="1800225" cy="28098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463" b="1" i="1">
                <a:solidFill>
                  <a:schemeClr val="tx2"/>
                </a:solidFill>
              </a:defRPr>
            </a:lvl1pPr>
            <a:lvl2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noProof="0"/>
              <a:t>Phone: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4C7CDA87-1949-494C-94DB-E500247384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78558" y="5658104"/>
            <a:ext cx="2858011" cy="280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678-555-0177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20ADC7-EE42-4D0E-B17A-883FE693D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08012" y="5377934"/>
            <a:ext cx="1800225" cy="28098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463" b="1" i="1">
                <a:solidFill>
                  <a:schemeClr val="tx2"/>
                </a:solidFill>
              </a:defRPr>
            </a:lvl1pPr>
            <a:lvl2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noProof="0"/>
              <a:t>Email: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D9FFFDD-8708-4CDD-974F-8A022BB26A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08012" y="5657711"/>
            <a:ext cx="3684587" cy="280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bergqvist@vanarsdelltd.com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E37318-4A32-4233-997C-CE244B16F5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98537" y="5377934"/>
            <a:ext cx="1800225" cy="28098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463" b="1" i="1">
                <a:solidFill>
                  <a:schemeClr val="tx2"/>
                </a:solidFill>
              </a:defRPr>
            </a:lvl1pPr>
            <a:lvl2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noProof="0"/>
              <a:t>Website: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1F818617-24CC-4E07-ABE4-A23E89FC13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98537" y="5657711"/>
            <a:ext cx="3240000" cy="280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www.vanasdelltd.com</a:t>
            </a:r>
          </a:p>
        </p:txBody>
      </p:sp>
      <p:sp>
        <p:nvSpPr>
          <p:cNvPr id="21" name="Rectangle 12" descr="Rectangle shape">
            <a:extLst>
              <a:ext uri="{FF2B5EF4-FFF2-40B4-BE49-F238E27FC236}">
                <a16:creationId xmlns:a16="http://schemas.microsoft.com/office/drawing/2014/main" id="{F63A6226-0829-4BFB-805E-8B463D763BD0}"/>
              </a:ext>
            </a:extLst>
          </p:cNvPr>
          <p:cNvSpPr/>
          <p:nvPr userDrawn="1"/>
        </p:nvSpPr>
        <p:spPr>
          <a:xfrm>
            <a:off x="4760496" y="2320161"/>
            <a:ext cx="7431505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1784361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1" hidden="1">
            <a:extLst>
              <a:ext uri="{FF2B5EF4-FFF2-40B4-BE49-F238E27FC236}">
                <a16:creationId xmlns:a16="http://schemas.microsoft.com/office/drawing/2014/main" id="{AA1E6CCA-9B71-415B-9A84-925935E1E3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324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61" hidden="1">
                        <a:extLst>
                          <a:ext uri="{FF2B5EF4-FFF2-40B4-BE49-F238E27FC236}">
                            <a16:creationId xmlns:a16="http://schemas.microsoft.com/office/drawing/2014/main" id="{AA1E6CCA-9B71-415B-9A84-925935E1E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3240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>
            <a:extLst>
              <a:ext uri="{FF2B5EF4-FFF2-40B4-BE49-F238E27FC236}">
                <a16:creationId xmlns:a16="http://schemas.microsoft.com/office/drawing/2014/main" id="{859FF301-76B8-4DCA-ABAE-54C1B0FE2D94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323950"/>
            <a:ext cx="379511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816" b="1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E8BE2937-A72C-47DD-BC8C-7F3574FCC19F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466487"/>
            <a:ext cx="3795119" cy="12634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sz="816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518D43E-4FA2-4425-B795-DD08CD9CD5E8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610645"/>
            <a:ext cx="3795119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sz="816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Document type" hidden="1">
            <a:extLst>
              <a:ext uri="{FF2B5EF4-FFF2-40B4-BE49-F238E27FC236}">
                <a16:creationId xmlns:a16="http://schemas.microsoft.com/office/drawing/2014/main" id="{4411D0D7-8C69-4531-B852-88B88E33978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170" y="6324426"/>
            <a:ext cx="8048632" cy="22420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>
                <a:latin typeface="+mn-lt"/>
              </a:rPr>
              <a:t>Document type | Date</a:t>
            </a:r>
          </a:p>
        </p:txBody>
      </p:sp>
      <p:pic>
        <p:nvPicPr>
          <p:cNvPr id="9" name="Picture 600" descr="C:\Users\MYTHIL~1\AppData\Local\Temp\notes1FCF23\~b522205.TMP">
            <a:extLst>
              <a:ext uri="{FF2B5EF4-FFF2-40B4-BE49-F238E27FC236}">
                <a16:creationId xmlns:a16="http://schemas.microsoft.com/office/drawing/2014/main" id="{4876F5E9-4D19-4B4B-AC7C-A89DCA57F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967040" y="6007634"/>
            <a:ext cx="3027348" cy="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>
              <a:ext uri="{FF2B5EF4-FFF2-40B4-BE49-F238E27FC236}">
                <a16:creationId xmlns:a16="http://schemas.microsoft.com/office/drawing/2014/main" id="{54262B50-AA79-42F9-8E03-2E7701CD8861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11">
            <a:extLst>
              <a:ext uri="{FF2B5EF4-FFF2-40B4-BE49-F238E27FC236}">
                <a16:creationId xmlns:a16="http://schemas.microsoft.com/office/drawing/2014/main" id="{67E247E5-54AD-492D-8E59-73E56A319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5011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/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3300605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2DF5B90E-9157-46A6-9F11-100E147B3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2DF5B90E-9157-46A6-9F11-100E147B31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>
            <a:extLst>
              <a:ext uri="{FF2B5EF4-FFF2-40B4-BE49-F238E27FC236}">
                <a16:creationId xmlns:a16="http://schemas.microsoft.com/office/drawing/2014/main" id="{E580134A-1476-41D1-BF6F-36E9E67E1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16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84233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7F4536E7-B0CF-46FC-A490-F064F3EA89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7F4536E7-B0CF-46FC-A490-F064F3EA89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2">
            <a:extLst>
              <a:ext uri="{FF2B5EF4-FFF2-40B4-BE49-F238E27FC236}">
                <a16:creationId xmlns:a16="http://schemas.microsoft.com/office/drawing/2014/main" id="{561F7470-B738-4068-BA51-DBE370E447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r="2364" b="5876"/>
          <a:stretch>
            <a:fillRect/>
          </a:stretch>
        </p:blipFill>
        <p:spPr bwMode="ltGray">
          <a:xfrm>
            <a:off x="3240" y="5244223"/>
            <a:ext cx="12188760" cy="127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>
            <a:extLst>
              <a:ext uri="{FF2B5EF4-FFF2-40B4-BE49-F238E27FC236}">
                <a16:creationId xmlns:a16="http://schemas.microsoft.com/office/drawing/2014/main" id="{D18089CF-11A0-4FD5-8F87-36A18D827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16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72187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52DFB2BE-3264-47B1-AC1A-96868B4D4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52DFB2BE-3264-47B1-AC1A-96868B4D41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1499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86035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EAF9F3-7602-4989-BDF4-F5A416C987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9695" y="1876609"/>
            <a:ext cx="4646019" cy="93598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17461D3-4A65-4D9F-92E7-EA27C2E071A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583329" y="3455286"/>
            <a:ext cx="8087165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pt-BR" sz="1800" kern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E0E9F7E-88C1-43B3-AE8D-99F91CDC75E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3328" y="3230390"/>
            <a:ext cx="9069676" cy="369332"/>
          </a:xfrm>
        </p:spPr>
        <p:txBody>
          <a:bodyPr/>
          <a:lstStyle>
            <a:lvl1pPr>
              <a:defRPr sz="2400" b="1"/>
            </a:lvl1pPr>
            <a:lvl2pPr marL="162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52B3E7D-B996-406C-ACB4-434F99E08F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3328" y="3824618"/>
            <a:ext cx="4682114" cy="24622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05942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6001" y="1143624"/>
            <a:ext cx="11340000" cy="1256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36A5736-EF74-4B19-9549-C4B41CD10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000" y="322641"/>
            <a:ext cx="8941520" cy="314028"/>
          </a:xfrm>
          <a:prstGeom prst="rect">
            <a:avLst/>
          </a:prstGeom>
        </p:spPr>
        <p:txBody>
          <a:bodyPr vert="horz" anchor="ctr"/>
          <a:lstStyle/>
          <a:p>
            <a:r>
              <a:rPr lang="en-US" altLang="nl-NL"/>
              <a:t>Click to edit title (max. 2 line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040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Eco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374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61596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8" imgW="353" imgH="353" progId="TCLayout.ActiveDocument.1">
                  <p:embed/>
                </p:oleObj>
              </mc:Choice>
              <mc:Fallback>
                <p:oleObj name="think-cell Slide" r:id="rId108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C26ABB-FC4A-46D6-9B14-76F3BA8E5F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lIns="0" rIns="0"/>
          <a:lstStyle>
            <a:lvl1pPr marL="0" indent="0"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AB8292E-A672-4967-80F1-42DA6F4C84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" y="690183"/>
            <a:ext cx="11544300" cy="38047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</a:lstStyle>
          <a:p>
            <a:pPr lvl="0"/>
            <a:r>
              <a:rPr lang="en-US"/>
              <a:t>Click to edit 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0ADDAD-0E22-46A8-93E6-E51854C37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0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111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r="84418" b="9333"/>
          <a:stretch/>
        </p:blipFill>
        <p:spPr>
          <a:xfrm>
            <a:off x="7949523" y="1584527"/>
            <a:ext cx="4242477" cy="49732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96E94E4-B0A7-48C5-B153-556C414C4C2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284163" y="4132263"/>
            <a:ext cx="11603038" cy="7731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7C3858-911C-4465-8DDF-B97183143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84163" y="2587625"/>
            <a:ext cx="11603038" cy="7731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00D7C3-FFD5-4FAA-8325-7F3A1E249B1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5676900"/>
            <a:ext cx="11603037" cy="7731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49281920-DD7B-4213-9DCD-48E46E6DB99B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735013" y="1212851"/>
            <a:ext cx="1722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48D064-DA15-4F02-9E8C-12AE7A83AA08}" type="datetime'''''''''''''''2''''0''''''''''''''''''''''2''''''''''''''''2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BB1B7149-5B76-4CFE-81F0-EA76F8AAD687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457449" y="1212851"/>
            <a:ext cx="94297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699C19B-1B90-4E4C-AE2F-CDDCFC64AF2F}" type="datetime'''''''''2''0''''''2''''''''3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3EEA278-5472-4319-A2E5-1C593536DF5A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1363664"/>
            <a:ext cx="1722438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6910BA-05BC-42CC-8B42-3EAF266F77CC}" type="datetime'''Q''''''''''''4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244812E6-EC6B-444B-A232-EF303D3A5879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2457450" y="1363664"/>
            <a:ext cx="2541588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13A564-D617-4A52-975A-F6EBFD7501AA}" type="datetime'''''''''''''''''''''''''''Q''''''''''''''1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6619101-33C7-4D84-A3D1-51A01D40095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4999039" y="1363664"/>
            <a:ext cx="2568575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8E295FF-DF97-4A14-88A5-ABBDEFD305B1}" type="datetime'''''''''''''''''''''''''''''''''''''''''''''Q''''''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DFF5AB51-7C4A-4D14-ACAC-12335B816A2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567612" y="1363664"/>
            <a:ext cx="2597150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AC494FA-A3FF-45B3-822F-69C4D6BDA9EA}" type="datetime'''Q''''''''''''''''''''''''''''''''3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3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C16FFFE-8CE1-4222-8946-B5B05982779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0164762" y="1363663"/>
            <a:ext cx="1722438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DCF810-DA03-41A5-956E-3E8D6799DF37}" type="datetime'''''''''''''''''''''Q''''''''''''''4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968D5-E4D2-4A1B-8565-856ECFB26E65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735014" y="1514475"/>
            <a:ext cx="84772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BBD1C8-DC2C-469F-A493-7B0614EB74C6}" type="datetime'''''''''N''''''''''''''''''o''''''''''''''''''''v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9D0DD6-1365-4D13-ADC7-0DECEFB4648F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1582738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12251C-C259-4A6E-860E-9E9325EB536A}" type="datetime'''''''''''''''''''''D''''''''e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9D5E5691-3050-455A-8FB9-FBE522E68314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2457451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956149-9E93-4A1A-9A7C-D0DE9D388BAA}" type="datetime'''''''''J''''''''''''''''''''''''''''''''an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B8B46C3-D859-4EF6-BF4E-DA1AE4DD79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3332164" y="1514475"/>
            <a:ext cx="79057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FB60A8-8D9D-4360-BD79-F33FD139526B}" type="datetime'''''''F''''''''e''''b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36E35A3-C788-49B3-8501-019097AE9860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4122738" y="1514475"/>
            <a:ext cx="8763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1362EC-D304-459D-95FB-E30885B4753E}" type="datetime'''''''''''''''''''M''''''''''a''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35136DAA-60C7-4F95-A624-7E4F9097BF4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4999038" y="1514475"/>
            <a:ext cx="84613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9C52C1A-38EC-44CB-B540-0F3116FFC669}" type="datetime'''''''''''''''''''''''A''''p''''''''''''''''''''r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9A86B049-8A1B-4F79-8797-D1B484AD11A9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5845176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87AD28-9130-4BEF-BA8B-C4DB4636AF3B}" type="datetime'''''''''''''''''M''a''''''''''''''''''''''''''''''y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578AF94B-A374-42F4-A09D-C71BF10986D8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6719889" y="1514475"/>
            <a:ext cx="84772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26EB54-D707-4AA9-8D08-9FF381E55FC4}" type="datetime'''''''''''''''J''''''''u''''''''''''''''''''''''''n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CA61620-A061-4ECE-A7CA-3938D25468AA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567613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4D1C020-01F8-4E2A-AE5B-04976949DC07}" type="datetime'''''''J''''ul''''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4A53274-6457-4C5B-94BF-A09043D8F830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8442325" y="1514475"/>
            <a:ext cx="8763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C9A0F4-2C10-4F94-A37C-7A74C65902B5}" type="datetime'''''A''''''''''u''''''''''''''g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FA41376-A999-4FE1-B166-D6059D421807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9318625" y="1514475"/>
            <a:ext cx="84613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AE93E4-28FD-4A27-89BB-88995835BA0B}" type="datetime'S''''e''''''''''''''''''''p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3D1D692-7AED-4D97-8C40-AD934EF6E369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0164763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C0D8D8-9F44-4415-B8D0-CBDC78B23120}" type="datetime'''''''''''''''''''''''''''''''''''''O''c''t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9911968-0C64-4BE7-9D95-A94B796EB8BE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1039475" y="1514475"/>
            <a:ext cx="84772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05FD412-1E53-4474-A153-6C8C38112983}" type="datetime'''''''''''''''''''''''''''''''''''''''No''''''v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47A167-17F9-4158-B54D-544BE4BFD2F5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735013" y="1665289"/>
            <a:ext cx="1412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E71A80C-8B0A-4067-9603-A3AC0C144BC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8763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563F4B-3AF4-4A5C-A20E-4841847A514A}" type="datetime'''''''''0''''''''''''6''''''''''''''''''''''''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35B51FB-6C56-4DDE-84D2-70B59C38FE29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0731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9FDD3EF-59F2-4FCE-9875-7862BA9B781F}" type="datetime'''1''''''''3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236535C-C879-4607-BB44-E63B98799F1F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2715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D9F601-CD5B-4C77-BE05-94D769A9DB60}" type="datetime'''2''''''0''''''''.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6488ED2-8C97-4CF1-AE18-23CFE1ADBFDF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14684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9F8E09-8631-4816-A718-A787569EA121}" type="datetime'''''''''''''''''''''''''''''''''''''''2''7''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6844297-722D-4FFD-88CA-3998A3A19038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16668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DFE2619-0663-4B57-BDF8-9A5EF08D299A}" type="datetime'''''''''''''''0''''''''''''''4''''''''''''''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D82D1CD-F486-47DB-9A93-D6E0D81A4989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18637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669AAC-2C25-4CCA-8614-B496C9C60855}" type="datetime'''''''''''''''''''''''''''''''''''''''''1''1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3281540-2B63-429C-80D3-0C7F49A7D84F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0621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8DEB1E-6453-4122-82BF-BC2CA90AA886}" type="datetime'''''''''''''''''''''1''''''8''''''''''''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F88A967-E060-41F3-859C-8D05BAA1D6F9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25901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EB3E3B-F6FE-460C-A491-F0DE8D1A4E1E}" type="datetime'''''''''''''''''2''''5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1F6E01A-F228-4747-86AF-AC4A39112CE6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245745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CDE586-8A3A-41E9-A434-ECC8CCF7A000}" type="datetime'''''0''''''''''''''''''''''''''''''1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C845F92-BEC8-4A6D-8BEA-7FC1D2B659FD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265430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2C7618F-E8AD-4411-BACA-22DE7A28A953}" type="datetime'''''''''''''0''''''''''''''''8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CDB2581-89F9-42A0-8AB9-54DE27C7910D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285273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A554EAE-B6CF-4BFA-9DAB-46DB20403951}" type="datetime'''''''''''''''''''''''''1''''''5''''''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AD7347E-73E2-48D9-8920-D5DC46465300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04958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226E70-12F3-49EF-8044-C26F99444504}" type="datetime'''''2''''''''''''2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DEB4ABA-37FD-4B9A-AA19-A138B2A22A67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324802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9B4B27E-E461-445D-8F22-27173A960A2D}" type="datetime'''''2''''''''''''''''''''''9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4E7514B0-6F46-4474-AA57-C5F3AE7ED8C9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344487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AD309C-49B7-471B-91C2-CCE905750015}" type="datetime'''''''''''0''''''''''''''''''''''''''''5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C25499F-B25A-4661-869B-6DCBE133F832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364331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039E14-DE9A-478C-A878-E144BF19CF12}" type="datetime'''''''''''1''''''2''''''''''''''''''''''''''''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0733E0C0-48EF-46E5-8099-EADDCA552EE6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384016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7AF31B-8F0B-40EC-BBA3-16FF9A57556B}" type="datetime'1''9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EC7C31F-F5BC-4CCC-B29F-CFE114736DF7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0386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037DDC-4B2A-41AC-8E46-02EE1D9954AC}" type="datetime'''''''''''2''''''6''''''''''''''''''''''''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745DACD-F976-4889-B435-43E3B4069AC8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42354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27AA2A2-A44A-456F-94EC-34EA63F07750}" type="datetime'''''''''''''''0''''''''''''5''''''''''''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47146B5-F308-48B9-BF2D-780F7C9C813D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44338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633EDA-B455-4EC1-BA9C-F908142AD7A1}" type="datetime'''''''''''''''''''1''''''''''''''''''''''''''''''2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538494B-EC4C-40CD-BC8F-9996AC9CA64E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46307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EEE81A-2285-4192-BA85-EC6AD1FEA98C}" type="datetime'''''''''''''''''''''''''''1''9''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642FA21-BDA5-4DF5-BA7D-BC06A0BAA8CE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48291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CFCCFB-4A35-4C93-9530-391883A9F3F4}" type="datetime'''''''''''''''''''''''''''''''''''''''2''''''''6''''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9D0F58E-7768-41AD-B781-A2689FC45AB5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0260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DA6376C-75E8-492E-9B31-9D80AF988DB9}" type="datetime'''''0''''''2''''.''''''''''''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E8BFDA6-E230-4AD9-8256-D9B7E43901AD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52244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30D3AD-4101-416A-A82E-5954FE9F7D23}" type="datetime'''''0''''''''''''''''''''''''''9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9278794-5D97-4624-AF81-5BED70CC6BCF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542131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0708D0D-6494-4F22-B12B-41D8D13F81DA}" type="datetime'1''''''6''''''''''''''''''.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5E577AE-1848-474A-8040-6A88A395C2AE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561975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831704-A8D6-460C-A65D-2FF8BE7C74EC}" type="datetime'''''''''2''''''3''''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C1CAD3B-8603-4C57-90A6-A671BC3154BA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581660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EC714C-37F1-47BF-877F-21714A29B543}" type="datetime'''''''''''''3''''''''''''''''''0''''''''''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04A7AA2F-FC0F-43D9-A70E-C18955E8EEAF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601503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A49511-F476-4CBF-97B0-048A78B7AD40}" type="datetime'0''''''''''''''''7''''''''''''''''''''''''''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2F9C6C2-C814-4036-8060-A2F396B394DB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621188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7753285-5DF2-4241-BC7B-794787D22176}" type="datetime'''''''''''''''1''4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940B07F-0281-4253-AAC7-1EF6B30F416D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641032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4EED337-BD80-41F8-854F-35BD2A355B93}" type="datetime'''''''''''''''''''''2''''''''''''''''''''''''1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04A304F-C392-45D0-B6B2-5BB9ED0195A0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660717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62D75CC-D2BB-4F36-ACB1-06B812013788}" type="datetime'''2''''''''''''''''''''''''''''''''''''''''''8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1B35EE6-A936-4690-A02A-5BED45B61030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680561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03244D-53CA-4C74-970E-4CA3C78305E7}" type="datetime'''''''''''0''''''''''''4''''''''''''''''''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183A869-F039-428C-943B-90A4975E8143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700246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F635CE-BAFB-427C-8274-FF146F6C738E}" type="datetime'''''''''''''''1''''1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88D19CB-E59E-4480-A7E7-08DE7ECBCF3C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72009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EAC2CA1-AFBB-4E5A-B672-DEFF5342ECDC}" type="datetime'''1''''''''''''''''''''''''''''''8''''''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0BEAE45-07CA-431F-8F48-BA8DBC55B9A5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73977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E29DE7-393C-40E4-8ED5-ACD15FD14188}" type="datetime'''''''''''2''''''''''''''5''''''''''''''''''''''''''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C6FFE3F-5D8F-4C71-8B7F-987D4882758E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75961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9531A90-E395-4198-BA90-B4FEB5C3E543}" type="datetime'''''''''''0''''''2''''''''''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12EE274F-2768-4499-BC18-FF1F2F4F35A7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77930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E0C3E59-487D-46BB-B733-E6A4B5FCF315}" type="datetime'''''''''0''''''9''''''''.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E7CFC925-B56F-4827-9B7E-9DD56AE93C9C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79914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BDCC7A-0A5B-4134-91DA-D71E6FAD9539}" type="datetime'''1''''''''''''''''6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F13CD2-668E-46BE-8B76-F84AF242E810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81883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7B4B844-4157-4857-905F-6A70ECEBFC36}" type="datetime'''''2''''''''''''''''''''''''''''''''''''''''''3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682BB86-3B55-4DE4-A8F5-517F1207F500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83867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007502-DEE0-4677-A808-820FDE5FFA20}" type="datetime'''''''''''''''''''3''''''0.''''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58634CD-F698-4116-B055-E4B4622C2353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858361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D8C4E3-A0CB-483D-A918-74E635257FDD}" type="datetime'''0''''''6''''''''''''''''''''''''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90FF3193-DF85-4B23-B9DF-867A939B167A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878205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FB4B01B-A9F1-43A4-8803-40D7A34C27CB}" type="datetime'''''''''''''''''''''1''''3''''''''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78AD629-9B70-45A0-8DD4-C437FE82BDB4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897890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30C931-631B-4C47-99E9-5A70E017A316}" type="datetime'''''''''''''''''''2''''''0''''.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D113E83-5C7C-4E9F-AD50-D4FB2B773A82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917733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6F6C95-DBE7-4A52-A0FC-DCE0CFA98757}" type="datetime'''''''''''2''''''''''''7''''''''''''''.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948C6EB-4EEF-49E3-8C87-23633A47266D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937418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A6176D-A958-4C37-8EE6-A0434BA21289}" type="datetime'''''''0''''''''''''3''''''''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998B8D5-D1FD-4383-9A69-11E094DD1FDC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957262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C49772-BD70-4BE6-A746-50611AC2E232}" type="datetime'''''''''1''''''''''''''''''''''''0''''.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F2BDBA7-8BB7-47A7-9401-C75C3DB06A1D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976947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F683295-9161-46F4-8FD1-DCA1596F5FD9}" type="datetime'''''''''''''1''''''''''''''''''''''''''''''''''7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96970F7-3060-4DD0-8107-1ACE1F2AA294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996791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9513A88-7D91-4F19-9AF5-1A17EED3198F}" type="datetime'''''''''''''''''2''''4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9D8B0D7-5ACB-4EFB-AE14-48501CD96284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016476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7F1896-C8B4-4D37-B6A0-937835968CC7}" type="datetime'''''''''''''''''''0''''1''''''''''''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A1BB85AB-9C74-4B6C-AAAD-89E1324E2741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03632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B84BF1-13CF-4340-91A0-2826902A39F6}" type="datetime'''''''08''''''''''''''''''''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2AE602FD-0C15-40E9-BBE5-1C088BD64642}"/>
              </a:ext>
            </a:extLst>
          </p:cNvPr>
          <p:cNvSpPr/>
          <p:nvPr userDrawn="1">
            <p:custDataLst>
              <p:tags r:id="rId75"/>
            </p:custDataLst>
          </p:nvPr>
        </p:nvSpPr>
        <p:spPr bwMode="auto">
          <a:xfrm>
            <a:off x="105600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1168C68-DD6C-43DE-BA38-DE66AFBD7071}" type="datetime'''''''''''''''''''1''''5''''''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08E9D56-8164-4312-9FC4-733EBC99621A}"/>
              </a:ext>
            </a:extLst>
          </p:cNvPr>
          <p:cNvSpPr/>
          <p:nvPr userDrawn="1">
            <p:custDataLst>
              <p:tags r:id="rId76"/>
            </p:custDataLst>
          </p:nvPr>
        </p:nvSpPr>
        <p:spPr bwMode="auto">
          <a:xfrm>
            <a:off x="107584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8B72E-8E59-4474-949F-BB09E9392A67}" type="datetime'''2''''''''''''''''''2''''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35BEDD4-4CA6-42B9-96B3-71412C8CEDA2}"/>
              </a:ext>
            </a:extLst>
          </p:cNvPr>
          <p:cNvSpPr/>
          <p:nvPr userDrawn="1">
            <p:custDataLst>
              <p:tags r:id="rId77"/>
            </p:custDataLst>
          </p:nvPr>
        </p:nvSpPr>
        <p:spPr bwMode="auto">
          <a:xfrm>
            <a:off x="109553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3BF4E38-A223-41A9-A7D1-CF5D6AF8B0AF}" type="datetime'''2''''''''''''''''''''''''''''''''''''''''''''9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61D19253-596C-4A6F-81C0-068736E39DEB}"/>
              </a:ext>
            </a:extLst>
          </p:cNvPr>
          <p:cNvSpPr/>
          <p:nvPr userDrawn="1">
            <p:custDataLst>
              <p:tags r:id="rId78"/>
            </p:custDataLst>
          </p:nvPr>
        </p:nvSpPr>
        <p:spPr bwMode="auto">
          <a:xfrm>
            <a:off x="111537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2370D07-9549-4B20-8EF4-E29EF257BD0B}" type="datetime'''''''''''''''''''0''''''''''''''''5''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D276A8B-755A-4442-9151-F757233D72EA}"/>
              </a:ext>
            </a:extLst>
          </p:cNvPr>
          <p:cNvSpPr/>
          <p:nvPr userDrawn="1">
            <p:custDataLst>
              <p:tags r:id="rId79"/>
            </p:custDataLst>
          </p:nvPr>
        </p:nvSpPr>
        <p:spPr bwMode="auto">
          <a:xfrm>
            <a:off x="113506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E8E345-D277-460D-A316-B174FE943248}" type="datetime'''''''''''''''''''''''''''''1''''''2''''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275DFC3-74B6-435D-BBEA-945F0B8A1B93}"/>
              </a:ext>
            </a:extLst>
          </p:cNvPr>
          <p:cNvSpPr/>
          <p:nvPr userDrawn="1">
            <p:custDataLst>
              <p:tags r:id="rId80"/>
            </p:custDataLst>
          </p:nvPr>
        </p:nvSpPr>
        <p:spPr bwMode="auto">
          <a:xfrm>
            <a:off x="115490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ABE1348-F65E-4D60-884B-A116D636E0F2}" type="datetime'1''''''''''''9''''''''''.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F6F7EDBB-BFE4-44C8-930A-A6CA3DCDBA22}"/>
              </a:ext>
            </a:extLst>
          </p:cNvPr>
          <p:cNvSpPr/>
          <p:nvPr userDrawn="1">
            <p:custDataLst>
              <p:tags r:id="rId81"/>
            </p:custDataLst>
          </p:nvPr>
        </p:nvSpPr>
        <p:spPr bwMode="auto">
          <a:xfrm>
            <a:off x="11745913" y="1665289"/>
            <a:ext cx="1412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C21F987-AE04-4CD6-AE67-673E803B9B86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499903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0DF18FB-E40E-4FA4-A513-97A0B63F627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412273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7406118-ACD6-4F8D-A416-5CAF935EAB48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7567613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CEF3A2F-05DF-4349-8F5C-00AF2D83C6B2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3332163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FFCC769-339F-4F79-942F-4C472524B3D8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457450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397AE5-DA97-43DA-9094-302BCC5B12B6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844232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7F5D0BB-08CF-4980-9323-1BBF6B93F323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10164763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84911F-2671-46CD-BD32-4DC0463CD040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931862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48741EF-3BDB-4A80-9DAC-E7A16531B7EB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1103947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1737FF-24D9-4473-9471-31A94C8A7B1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735013" y="1816100"/>
            <a:ext cx="0" cy="46339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B21BECA-588F-449D-9BEA-672EA8997A70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11887200" y="1816100"/>
            <a:ext cx="0" cy="46339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7F7061D-B399-48DE-930F-D78D1064EAFE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1816100"/>
            <a:ext cx="0" cy="46339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4124B81-F58E-4590-BD57-6AB35941E19B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671988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1E8C3E8-362B-41A1-94FA-85B4A5A69AC6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158273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8C575FC-93C8-4A7C-BDD1-C33A01125BA8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584517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40E8436-EC51-4A13-BC40-EBD1012DA809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4132263"/>
            <a:ext cx="11603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4162BCA-2149-4BA9-9CAC-5A219C34F798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3360738"/>
            <a:ext cx="11603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5BBDCF3-FAA1-4458-803A-8C563DEE02E6}"/>
              </a:ext>
            </a:extLst>
          </p:cNvPr>
          <p:cNvCxnSpPr/>
          <p:nvPr userDrawn="1">
            <p:custDataLst>
              <p:tags r:id="rId99"/>
            </p:custDataLst>
          </p:nvPr>
        </p:nvCxnSpPr>
        <p:spPr bwMode="auto">
          <a:xfrm>
            <a:off x="284163" y="2587625"/>
            <a:ext cx="11603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93670-1393-4FD0-8FE8-349B36D26C65}"/>
              </a:ext>
            </a:extLst>
          </p:cNvPr>
          <p:cNvCxnSpPr/>
          <p:nvPr userDrawn="1">
            <p:custDataLst>
              <p:tags r:id="rId100"/>
            </p:custDataLst>
          </p:nvPr>
        </p:nvCxnSpPr>
        <p:spPr bwMode="auto">
          <a:xfrm>
            <a:off x="284163" y="5676900"/>
            <a:ext cx="11603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C3269B9-D21A-4738-AE4E-488EE78D98B6}"/>
              </a:ext>
            </a:extLst>
          </p:cNvPr>
          <p:cNvCxnSpPr/>
          <p:nvPr userDrawn="1">
            <p:custDataLst>
              <p:tags r:id="rId101"/>
            </p:custDataLst>
          </p:nvPr>
        </p:nvCxnSpPr>
        <p:spPr bwMode="auto">
          <a:xfrm>
            <a:off x="284163" y="4905375"/>
            <a:ext cx="11603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4E8EC00-57FF-45D3-B643-C08143761E82}"/>
              </a:ext>
            </a:extLst>
          </p:cNvPr>
          <p:cNvCxnSpPr/>
          <p:nvPr userDrawn="1">
            <p:custDataLst>
              <p:tags r:id="rId102"/>
            </p:custDataLst>
          </p:nvPr>
        </p:nvCxnSpPr>
        <p:spPr bwMode="auto">
          <a:xfrm>
            <a:off x="284163" y="6450013"/>
            <a:ext cx="11603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05A66DF4-DF34-4950-9670-93286F132408}"/>
              </a:ext>
            </a:extLst>
          </p:cNvPr>
          <p:cNvCxnSpPr/>
          <p:nvPr userDrawn="1">
            <p:custDataLst>
              <p:tags r:id="rId103"/>
            </p:custDataLst>
          </p:nvPr>
        </p:nvCxnSpPr>
        <p:spPr bwMode="auto">
          <a:xfrm>
            <a:off x="284163" y="1816100"/>
            <a:ext cx="11603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A8EA6373-C74C-4780-8A9E-F99180C3789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 bwMode="auto">
          <a:xfrm>
            <a:off x="325438" y="167957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07227BB3-7B5F-4F66-8264-54E4BBA8FA29}" type="datetime'Ac''''''''''''ti''''''''v''i''''''t''''''''''''''''''y'''''''">
              <a:rPr lang="en-US" altLang="en-US" sz="800" b="1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5CB258D-6822-4E96-B60C-553FFDFBE1DB}"/>
              </a:ext>
            </a:extLst>
          </p:cNvPr>
          <p:cNvSpPr txBox="1"/>
          <p:nvPr userDrawn="1"/>
        </p:nvSpPr>
        <p:spPr>
          <a:xfrm>
            <a:off x="11377259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309B4CF-CFDE-4490-B56A-7EC834F3B99A}"/>
              </a:ext>
            </a:extLst>
          </p:cNvPr>
          <p:cNvSpPr txBox="1"/>
          <p:nvPr userDrawn="1"/>
        </p:nvSpPr>
        <p:spPr>
          <a:xfrm>
            <a:off x="7621744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97" name="Isosceles Triangle 96">
            <a:extLst>
              <a:ext uri="{FF2B5EF4-FFF2-40B4-BE49-F238E27FC236}">
                <a16:creationId xmlns:a16="http://schemas.microsoft.com/office/drawing/2014/main" id="{B1940586-599A-4626-B20F-0631285D8BE6}"/>
              </a:ext>
            </a:extLst>
          </p:cNvPr>
          <p:cNvSpPr/>
          <p:nvPr userDrawn="1">
            <p:custDataLst>
              <p:tags r:id="rId105"/>
            </p:custDataLst>
          </p:nvPr>
        </p:nvSpPr>
        <p:spPr bwMode="auto">
          <a:xfrm>
            <a:off x="7562863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id="{C6B88741-C3A3-4822-95ED-C5D9A637FE61}"/>
              </a:ext>
            </a:extLst>
          </p:cNvPr>
          <p:cNvSpPr/>
          <p:nvPr userDrawn="1">
            <p:custDataLst>
              <p:tags r:id="rId106"/>
            </p:custDataLst>
          </p:nvPr>
        </p:nvSpPr>
        <p:spPr bwMode="auto">
          <a:xfrm>
            <a:off x="11307527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Box 20">
            <a:extLst>
              <a:ext uri="{FF2B5EF4-FFF2-40B4-BE49-F238E27FC236}">
                <a16:creationId xmlns:a16="http://schemas.microsoft.com/office/drawing/2014/main" id="{440E6EBB-F558-4393-8A9B-3521AD0C35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082880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100" name="TextBox 21">
            <a:extLst>
              <a:ext uri="{FF2B5EF4-FFF2-40B4-BE49-F238E27FC236}">
                <a16:creationId xmlns:a16="http://schemas.microsoft.com/office/drawing/2014/main" id="{F1C8FB9F-A4FA-4281-A637-37284B9554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07649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47482FE8-695C-413E-87C6-3A8FC9C1461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18633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Isosceles Triangle 101">
            <a:extLst>
              <a:ext uri="{FF2B5EF4-FFF2-40B4-BE49-F238E27FC236}">
                <a16:creationId xmlns:a16="http://schemas.microsoft.com/office/drawing/2014/main" id="{EA337A7E-53F9-4E0E-98A0-F2AA51C876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48584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Box 22">
            <a:extLst>
              <a:ext uri="{FF2B5EF4-FFF2-40B4-BE49-F238E27FC236}">
                <a16:creationId xmlns:a16="http://schemas.microsoft.com/office/drawing/2014/main" id="{42D47C67-7048-408F-BC5A-1257D49CBE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1772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FE96BCDA-7A30-4B32-B123-65AF831337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267656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1CFBD01-8F00-41B8-8416-BDFC26474944}"/>
              </a:ext>
            </a:extLst>
          </p:cNvPr>
          <p:cNvSpPr/>
          <p:nvPr userDrawn="1"/>
        </p:nvSpPr>
        <p:spPr>
          <a:xfrm>
            <a:off x="7466888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0" name="Text Placeholder 4">
            <a:extLst>
              <a:ext uri="{FF2B5EF4-FFF2-40B4-BE49-F238E27FC236}">
                <a16:creationId xmlns:a16="http://schemas.microsoft.com/office/drawing/2014/main" id="{F6D2351F-378A-498F-83D3-C0069B529D3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158849" y="5902263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5580E463-7365-4B78-83B9-36D528AF6A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50818" y="4360821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10D10594-9849-4938-8399-CB26376560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16200000">
            <a:off x="150818" y="3590100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9DFFC6C7-8B71-40D1-A5E1-285D390B509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 rot="16200000">
            <a:off x="150819" y="2819379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BC3530A2-40A4-4EC3-8117-44C7E2B5A2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rot="16200000">
            <a:off x="150820" y="2048658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49EBC144-5BC0-4A00-A607-B723E19376A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rot="16200000">
            <a:off x="158850" y="5131542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589149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90960" y="1622139"/>
            <a:ext cx="11410091" cy="1256112"/>
          </a:xfrm>
        </p:spPr>
        <p:txBody>
          <a:bodyPr/>
          <a:lstStyle>
            <a:lvl1pPr>
              <a:defRPr baseline="0"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9933" y="1006137"/>
            <a:ext cx="11410091" cy="410668"/>
          </a:xfrm>
        </p:spPr>
        <p:txBody>
          <a:bodyPr>
            <a:noAutofit/>
          </a:bodyPr>
          <a:lstStyle>
            <a:lvl1pPr marL="0" indent="0">
              <a:lnSpc>
                <a:spcPts val="2737"/>
              </a:lnSpc>
              <a:buNone/>
              <a:defRPr sz="2281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389930" y="319273"/>
            <a:ext cx="10972800" cy="31402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210321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28255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6" y="3449115"/>
            <a:ext cx="8840220" cy="3140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2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24889241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4" y="1059400"/>
            <a:ext cx="6245912" cy="2387600"/>
          </a:xfrm>
        </p:spPr>
        <p:txBody>
          <a:bodyPr anchor="b">
            <a:noAutofit/>
          </a:bodyPr>
          <a:lstStyle>
            <a:lvl1pPr algn="l">
              <a:defRPr sz="6000" b="1">
                <a:solidFill>
                  <a:schemeClr val="tx1"/>
                </a:solidFill>
                <a:latin typeface="Cairo" pitchFamily="2" charset="-78"/>
                <a:cs typeface="Cairo" pitchFamily="2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4" y="3539075"/>
            <a:ext cx="6245912" cy="1406101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Cairo" pitchFamily="2" charset="-78"/>
                <a:cs typeface="Cairo" pitchFamily="2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5363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C26ABB-FC4A-46D6-9B14-76F3BA8E5F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lIns="0" rIns="0"/>
          <a:lstStyle>
            <a:lvl1pPr marL="0" indent="0"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AB8292E-A672-4967-80F1-42DA6F4C84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" y="690183"/>
            <a:ext cx="11544300" cy="38047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</a:lstStyle>
          <a:p>
            <a:pPr lvl="0"/>
            <a:r>
              <a:rPr lang="en-US"/>
              <a:t>Click to edit 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0ADDAD-0E22-46A8-93E6-E51854C37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r="84418" b="9333"/>
          <a:stretch/>
        </p:blipFill>
        <p:spPr>
          <a:xfrm>
            <a:off x="7949523" y="1584527"/>
            <a:ext cx="4242477" cy="497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130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8" imgW="353" imgH="353" progId="TCLayout.ActiveDocument.1">
                  <p:embed/>
                </p:oleObj>
              </mc:Choice>
              <mc:Fallback>
                <p:oleObj name="think-cell Slide" r:id="rId108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C26ABB-FC4A-46D6-9B14-76F3BA8E5F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lIns="0" rIns="0"/>
          <a:lstStyle>
            <a:lvl1pPr marL="0" indent="0"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AB8292E-A672-4967-80F1-42DA6F4C84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" y="690183"/>
            <a:ext cx="11544300" cy="38047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</a:lstStyle>
          <a:p>
            <a:pPr lvl="0"/>
            <a:r>
              <a:rPr lang="en-US"/>
              <a:t>Click to edit 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0ADDAD-0E22-46A8-93E6-E51854C37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0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111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r="84418" b="9333"/>
          <a:stretch/>
        </p:blipFill>
        <p:spPr>
          <a:xfrm>
            <a:off x="7949523" y="1584527"/>
            <a:ext cx="4242477" cy="49732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96E94E4-B0A7-48C5-B153-556C414C4C2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284163" y="4132263"/>
            <a:ext cx="11603038" cy="7731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7C3858-911C-4465-8DDF-B97183143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84163" y="2587625"/>
            <a:ext cx="11603038" cy="7731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00D7C3-FFD5-4FAA-8325-7F3A1E249B1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5676900"/>
            <a:ext cx="11603037" cy="7731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49281920-DD7B-4213-9DCD-48E46E6DB99B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735013" y="1212851"/>
            <a:ext cx="1722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48D064-DA15-4F02-9E8C-12AE7A83AA08}" type="datetime'''''''''''''''2''''0''''''''''''''''''''''2''''''''''''''''2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BB1B7149-5B76-4CFE-81F0-EA76F8AAD687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457449" y="1212851"/>
            <a:ext cx="94297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699C19B-1B90-4E4C-AE2F-CDDCFC64AF2F}" type="datetime'''''''''2''0''''''2''''''''3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3EEA278-5472-4319-A2E5-1C593536DF5A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1363664"/>
            <a:ext cx="1722438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6910BA-05BC-42CC-8B42-3EAF266F77CC}" type="datetime'''Q''''''''''''4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244812E6-EC6B-444B-A232-EF303D3A5879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2457450" y="1363664"/>
            <a:ext cx="2541588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13A564-D617-4A52-975A-F6EBFD7501AA}" type="datetime'''''''''''''''''''''''''''Q''''''''''''''1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6619101-33C7-4D84-A3D1-51A01D40095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4999039" y="1363664"/>
            <a:ext cx="2568575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8E295FF-DF97-4A14-88A5-ABBDEFD305B1}" type="datetime'''''''''''''''''''''''''''''''''''''''''''''Q''''''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DFF5AB51-7C4A-4D14-ACAC-12335B816A2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567612" y="1363664"/>
            <a:ext cx="2597150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AC494FA-A3FF-45B3-822F-69C4D6BDA9EA}" type="datetime'''Q''''''''''''''''''''''''''''''''3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3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C16FFFE-8CE1-4222-8946-B5B05982779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0164762" y="1363663"/>
            <a:ext cx="1722438" cy="1508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DCF810-DA03-41A5-956E-3E8D6799DF37}" type="datetime'''''''''''''''''''''Q''''''''''''''4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968D5-E4D2-4A1B-8565-856ECFB26E65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735014" y="1514475"/>
            <a:ext cx="84772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BBD1C8-DC2C-469F-A493-7B0614EB74C6}" type="datetime'''''''''N''''''''''''''''''o''''''''''''''''''''v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9D0DD6-1365-4D13-ADC7-0DECEFB4648F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1582738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12251C-C259-4A6E-860E-9E9325EB536A}" type="datetime'''''''''''''''''''''D''''''''e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9D5E5691-3050-455A-8FB9-FBE522E68314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2457451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956149-9E93-4A1A-9A7C-D0DE9D388BAA}" type="datetime'''''''''J''''''''''''''''''''''''''''''''an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B8B46C3-D859-4EF6-BF4E-DA1AE4DD79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3332164" y="1514475"/>
            <a:ext cx="79057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FB60A8-8D9D-4360-BD79-F33FD139526B}" type="datetime'''''''F''''''''e''''b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36E35A3-C788-49B3-8501-019097AE9860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4122738" y="1514475"/>
            <a:ext cx="8763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1362EC-D304-459D-95FB-E30885B4753E}" type="datetime'''''''''''''''''''M''''''''''a''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35136DAA-60C7-4F95-A624-7E4F9097BF4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4999038" y="1514475"/>
            <a:ext cx="84613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9C52C1A-38EC-44CB-B540-0F3116FFC669}" type="datetime'''''''''''''''''''''''A''''p''''''''''''''''''''r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9A86B049-8A1B-4F79-8797-D1B484AD11A9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5845176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87AD28-9130-4BEF-BA8B-C4DB4636AF3B}" type="datetime'''''''''''''''''M''a''''''''''''''''''''''''''''''y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578AF94B-A374-42F4-A09D-C71BF10986D8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6719889" y="1514475"/>
            <a:ext cx="84772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26EB54-D707-4AA9-8D08-9FF381E55FC4}" type="datetime'''''''''''''''J''''''''u''''''''''''''''''''''''''n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CA61620-A061-4ECE-A7CA-3938D25468AA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567613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4D1C020-01F8-4E2A-AE5B-04976949DC07}" type="datetime'''''''J''''ul''''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4A53274-6457-4C5B-94BF-A09043D8F830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8442325" y="1514475"/>
            <a:ext cx="8763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C9A0F4-2C10-4F94-A37C-7A74C65902B5}" type="datetime'''''A''''''''''u''''''''''''''g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FA41376-A999-4FE1-B166-D6059D421807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9318625" y="1514475"/>
            <a:ext cx="84613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AE93E4-28FD-4A27-89BB-88995835BA0B}" type="datetime'S''''e''''''''''''''''''''p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3D1D692-7AED-4D97-8C40-AD934EF6E369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0164763" y="1514475"/>
            <a:ext cx="8747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C0D8D8-9F44-4415-B8D0-CBDC78B23120}" type="datetime'''''''''''''''''''''''''''''''''''''O''c''t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9911968-0C64-4BE7-9D95-A94B796EB8BE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1039475" y="1514475"/>
            <a:ext cx="84772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05FD412-1E53-4474-A153-6C8C38112983}" type="datetime'''''''''''''''''''''''''''''''''''''''No''''''v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47A167-17F9-4158-B54D-544BE4BFD2F5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735013" y="1665289"/>
            <a:ext cx="1412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E71A80C-8B0A-4067-9603-A3AC0C144BC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8763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563F4B-3AF4-4A5C-A20E-4841847A514A}" type="datetime'''''''''0''''''''''''6''''''''''''''''''''''''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35B51FB-6C56-4DDE-84D2-70B59C38FE29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0731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9FDD3EF-59F2-4FCE-9875-7862BA9B781F}" type="datetime'''1''''''''3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236535C-C879-4607-BB44-E63B98799F1F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2715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D9F601-CD5B-4C77-BE05-94D769A9DB60}" type="datetime'''2''''''0''''''''.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6488ED2-8C97-4CF1-AE18-23CFE1ADBFDF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14684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9F8E09-8631-4816-A718-A787569EA121}" type="datetime'''''''''''''''''''''''''''''''''''''''2''7''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6844297-722D-4FFD-88CA-3998A3A19038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16668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DFE2619-0663-4B57-BDF8-9A5EF08D299A}" type="datetime'''''''''''''''0''''''''''''''4''''''''''''''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D82D1CD-F486-47DB-9A93-D6E0D81A4989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18637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669AAC-2C25-4CCA-8614-B496C9C60855}" type="datetime'''''''''''''''''''''''''''''''''''''''''1''1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3281540-2B63-429C-80D3-0C7F49A7D84F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0621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8DEB1E-6453-4122-82BF-BC2CA90AA886}" type="datetime'''''''''''''''''''''1''''''8''''''''''''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F88A967-E060-41F3-859C-8D05BAA1D6F9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25901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EB3E3B-F6FE-460C-A491-F0DE8D1A4E1E}" type="datetime'''''''''''''''''2''''5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1F6E01A-F228-4747-86AF-AC4A39112CE6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245745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CDE586-8A3A-41E9-A434-ECC8CCF7A000}" type="datetime'''''0''''''''''''''''''''''''''''''1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C845F92-BEC8-4A6D-8BEA-7FC1D2B659FD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265430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2C7618F-E8AD-4411-BACA-22DE7A28A953}" type="datetime'''''''''''''0''''''''''''''''8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CDB2581-89F9-42A0-8AB9-54DE27C7910D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285273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A554EAE-B6CF-4BFA-9DAB-46DB20403951}" type="datetime'''''''''''''''''''''''''1''''''5''''''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AD7347E-73E2-48D9-8920-D5DC46465300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04958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226E70-12F3-49EF-8044-C26F99444504}" type="datetime'''''2''''''''''''2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DEB4ABA-37FD-4B9A-AA19-A138B2A22A67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324802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9B4B27E-E461-445D-8F22-27173A960A2D}" type="datetime'''''2''''''''''''''''''''''9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4E7514B0-6F46-4474-AA57-C5F3AE7ED8C9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344487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AD309C-49B7-471B-91C2-CCE905750015}" type="datetime'''''''''''0''''''''''''''''''''''''''''5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C25499F-B25A-4661-869B-6DCBE133F832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364331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039E14-DE9A-478C-A878-E144BF19CF12}" type="datetime'''''''''''1''''''2''''''''''''''''''''''''''''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0733E0C0-48EF-46E5-8099-EADDCA552EE6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384016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7AF31B-8F0B-40EC-BBA3-16FF9A57556B}" type="datetime'1''9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EC7C31F-F5BC-4CCC-B29F-CFE114736DF7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0386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037DDC-4B2A-41AC-8E46-02EE1D9954AC}" type="datetime'''''''''''2''''''6''''''''''''''''''''''''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745DACD-F976-4889-B435-43E3B4069AC8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42354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27AA2A2-A44A-456F-94EC-34EA63F07750}" type="datetime'''''''''''''''0''''''''''''5''''''''''''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47146B5-F308-48B9-BF2D-780F7C9C813D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44338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633EDA-B455-4EC1-BA9C-F908142AD7A1}" type="datetime'''''''''''''''''''1''''''''''''''''''''''''''''''2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538494B-EC4C-40CD-BC8F-9996AC9CA64E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46307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EEE81A-2285-4192-BA85-EC6AD1FEA98C}" type="datetime'''''''''''''''''''''''''''1''9''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642FA21-BDA5-4DF5-BA7D-BC06A0BAA8CE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48291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CFCCFB-4A35-4C93-9530-391883A9F3F4}" type="datetime'''''''''''''''''''''''''''''''''''''''2''''''''6''''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9D0F58E-7768-41AD-B781-A2689FC45AB5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0260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DA6376C-75E8-492E-9B31-9D80AF988DB9}" type="datetime'''''0''''''2''''.''''''''''''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E8BFDA6-E230-4AD9-8256-D9B7E43901AD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52244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30D3AD-4101-416A-A82E-5954FE9F7D23}" type="datetime'''''0''''''''''''''''''''''''''9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9278794-5D97-4624-AF81-5BED70CC6BCF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542131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0708D0D-6494-4F22-B12B-41D8D13F81DA}" type="datetime'1''''''6''''''''''''''''''.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5E577AE-1848-474A-8040-6A88A395C2AE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561975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831704-A8D6-460C-A65D-2FF8BE7C74EC}" type="datetime'''''''''2''''''3''''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C1CAD3B-8603-4C57-90A6-A671BC3154BA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581660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EC714C-37F1-47BF-877F-21714A29B543}" type="datetime'''''''''''''3''''''''''''''''''0''''''''''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04A7AA2F-FC0F-43D9-A70E-C18955E8EEAF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601503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A49511-F476-4CBF-97B0-048A78B7AD40}" type="datetime'0''''''''''''''''7''''''''''''''''''''''''''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2F9C6C2-C814-4036-8060-A2F396B394DB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621188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7753285-5DF2-4241-BC7B-794787D22176}" type="datetime'''''''''''''''1''4''''''''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940B07F-0281-4253-AAC7-1EF6B30F416D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641032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4EED337-BD80-41F8-854F-35BD2A355B93}" type="datetime'''''''''''''''''''''2''''''''''''''''''''''''1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04A304F-C392-45D0-B6B2-5BB9ED0195A0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660717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62D75CC-D2BB-4F36-ACB1-06B812013788}" type="datetime'''2''''''''''''''''''''''''''''''''''''''''''8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1B35EE6-A936-4690-A02A-5BED45B61030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680561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03244D-53CA-4C74-970E-4CA3C78305E7}" type="datetime'''''''''''0''''''''''''4''''''''''''''''''.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183A869-F039-428C-943B-90A4975E8143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700246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F635CE-BAFB-427C-8274-FF146F6C738E}" type="datetime'''''''''''''''1''''1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88D19CB-E59E-4480-A7E7-08DE7ECBCF3C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72009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EAC2CA1-AFBB-4E5A-B672-DEFF5342ECDC}" type="datetime'''1''''''''''''''''''''''''''''''8''''''''''''''''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0BEAE45-07CA-431F-8F48-BA8DBC55B9A5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73977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E29DE7-393C-40E4-8ED5-ACD15FD14188}" type="datetime'''''''''''2''''''''''''''5''''''''''''''''''''''''''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C6FFE3F-5D8F-4C71-8B7F-987D4882758E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75961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9531A90-E395-4198-BA90-B4FEB5C3E543}" type="datetime'''''''''''0''''''2''''''''''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12EE274F-2768-4499-BC18-FF1F2F4F35A7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77930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E0C3E59-487D-46BB-B733-E6A4B5FCF315}" type="datetime'''''''''0''''''9''''''''.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E7CFC925-B56F-4827-9B7E-9DD56AE93C9C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79914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BDCC7A-0A5B-4134-91DA-D71E6FAD9539}" type="datetime'''1''''''''''''''''6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F13CD2-668E-46BE-8B76-F84AF242E810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81883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7B4B844-4157-4857-905F-6A70ECEBFC36}" type="datetime'''''2''''''''''''''''''''''''''''''''''''''''''3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682BB86-3B55-4DE4-A8F5-517F1207F500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83867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007502-DEE0-4677-A808-820FDE5FFA20}" type="datetime'''''''''''''''''''3''''''0.''''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58634CD-F698-4116-B055-E4B4622C2353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858361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D8C4E3-A0CB-483D-A918-74E635257FDD}" type="datetime'''0''''''6''''''''''''''''''''''''''''''''''''''''''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90FF3193-DF85-4B23-B9DF-867A939B167A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878205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FB4B01B-A9F1-43A4-8803-40D7A34C27CB}" type="datetime'''''''''''''''''''''1''''3''''''''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78AD629-9B70-45A0-8DD4-C437FE82BDB4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897890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30C931-631B-4C47-99E9-5A70E017A316}" type="datetime'''''''''''''''''''2''''''0''''.''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D113E83-5C7C-4E9F-AD50-D4FB2B773A82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917733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6F6C95-DBE7-4A52-A0FC-DCE0CFA98757}" type="datetime'''''''''''2''''''''''''7''''''''''''''.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948C6EB-4EEF-49E3-8C87-23633A47266D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937418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A6176D-A958-4C37-8EE6-A0434BA21289}" type="datetime'''''''0''''''''''''3''''''''''.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998B8D5-D1FD-4383-9A69-11E094DD1FDC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957262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C49772-BD70-4BE6-A746-50611AC2E232}" type="datetime'''''''''1''''''''''''''''''''''''0''''.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F2BDBA7-8BB7-47A7-9401-C75C3DB06A1D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976947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F683295-9161-46F4-8FD1-DCA1596F5FD9}" type="datetime'''''''''''''1''''''''''''''''''''''''''''''''''7.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96970F7-3060-4DD0-8107-1ACE1F2AA294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996791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9513A88-7D91-4F19-9AF5-1A17EED3198F}" type="datetime'''''''''''''''''2''''4''.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9D8B0D7-5ACB-4EFB-AE14-48501CD96284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0164763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7F1896-C8B4-4D37-B6A0-937835968CC7}" type="datetime'''''''''''''''''''0''''1''''''''''''''''.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A1BB85AB-9C74-4B6C-AAAD-89E1324E2741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0363200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B84BF1-13CF-4340-91A0-2826902A39F6}" type="datetime'''''''08''''''''''''''''''''.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2AE602FD-0C15-40E9-BBE5-1C088BD64642}"/>
              </a:ext>
            </a:extLst>
          </p:cNvPr>
          <p:cNvSpPr/>
          <p:nvPr userDrawn="1">
            <p:custDataLst>
              <p:tags r:id="rId75"/>
            </p:custDataLst>
          </p:nvPr>
        </p:nvSpPr>
        <p:spPr bwMode="auto">
          <a:xfrm>
            <a:off x="10560050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1168C68-DD6C-43DE-BA38-DE66AFBD7071}" type="datetime'''''''''''''''''''1''''5''''''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08E9D56-8164-4312-9FC4-733EBC99621A}"/>
              </a:ext>
            </a:extLst>
          </p:cNvPr>
          <p:cNvSpPr/>
          <p:nvPr userDrawn="1">
            <p:custDataLst>
              <p:tags r:id="rId76"/>
            </p:custDataLst>
          </p:nvPr>
        </p:nvSpPr>
        <p:spPr bwMode="auto">
          <a:xfrm>
            <a:off x="10758488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8B72E-8E59-4474-949F-BB09E9392A67}" type="datetime'''2''''''''''''''''''2''''''''.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35BEDD4-4CA6-42B9-96B3-71412C8CEDA2}"/>
              </a:ext>
            </a:extLst>
          </p:cNvPr>
          <p:cNvSpPr/>
          <p:nvPr userDrawn="1">
            <p:custDataLst>
              <p:tags r:id="rId77"/>
            </p:custDataLst>
          </p:nvPr>
        </p:nvSpPr>
        <p:spPr bwMode="auto">
          <a:xfrm>
            <a:off x="10955338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3BF4E38-A223-41A9-A7D1-CF5D6AF8B0AF}" type="datetime'''2''''''''''''''''''''''''''''''''''''''''''''9''.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61D19253-596C-4A6F-81C0-068736E39DEB}"/>
              </a:ext>
            </a:extLst>
          </p:cNvPr>
          <p:cNvSpPr/>
          <p:nvPr userDrawn="1">
            <p:custDataLst>
              <p:tags r:id="rId78"/>
            </p:custDataLst>
          </p:nvPr>
        </p:nvSpPr>
        <p:spPr bwMode="auto">
          <a:xfrm>
            <a:off x="11153775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2370D07-9549-4B20-8EF4-E29EF257BD0B}" type="datetime'''''''''''''''''''0''''''''''''''''5''.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D276A8B-755A-4442-9151-F757233D72EA}"/>
              </a:ext>
            </a:extLst>
          </p:cNvPr>
          <p:cNvSpPr/>
          <p:nvPr userDrawn="1">
            <p:custDataLst>
              <p:tags r:id="rId79"/>
            </p:custDataLst>
          </p:nvPr>
        </p:nvSpPr>
        <p:spPr bwMode="auto">
          <a:xfrm>
            <a:off x="11350625" y="1665289"/>
            <a:ext cx="19843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E8E345-D277-460D-A316-B174FE943248}" type="datetime'''''''''''''''''''''''''''''1''''''2''''.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275DFC3-74B6-435D-BBEA-945F0B8A1B93}"/>
              </a:ext>
            </a:extLst>
          </p:cNvPr>
          <p:cNvSpPr/>
          <p:nvPr userDrawn="1">
            <p:custDataLst>
              <p:tags r:id="rId80"/>
            </p:custDataLst>
          </p:nvPr>
        </p:nvSpPr>
        <p:spPr bwMode="auto">
          <a:xfrm>
            <a:off x="11549063" y="1665289"/>
            <a:ext cx="1968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ABE1348-F65E-4D60-884B-A116D636E0F2}" type="datetime'1''''''''''''9''''''''''.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.</a:t>
            </a:fld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F6F7EDBB-BFE4-44C8-930A-A6CA3DCDBA22}"/>
              </a:ext>
            </a:extLst>
          </p:cNvPr>
          <p:cNvSpPr/>
          <p:nvPr userDrawn="1">
            <p:custDataLst>
              <p:tags r:id="rId81"/>
            </p:custDataLst>
          </p:nvPr>
        </p:nvSpPr>
        <p:spPr bwMode="auto">
          <a:xfrm>
            <a:off x="11745913" y="1665289"/>
            <a:ext cx="1412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800" b="1" i="0" u="none" kern="0" cap="none" spc="0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C21F987-AE04-4CD6-AE67-673E803B9B86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499903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0DF18FB-E40E-4FA4-A513-97A0B63F627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412273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7406118-ACD6-4F8D-A416-5CAF935EAB48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7567613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CEF3A2F-05DF-4349-8F5C-00AF2D83C6B2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3332163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FFCC769-339F-4F79-942F-4C472524B3D8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457450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397AE5-DA97-43DA-9094-302BCC5B12B6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844232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7F5D0BB-08CF-4980-9323-1BBF6B93F323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10164763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84911F-2671-46CD-BD32-4DC0463CD040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931862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48741EF-3BDB-4A80-9DAC-E7A16531B7EB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1103947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1737FF-24D9-4473-9471-31A94C8A7B1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735013" y="1816100"/>
            <a:ext cx="0" cy="46339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B21BECA-588F-449D-9BEA-672EA8997A70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11887200" y="1816100"/>
            <a:ext cx="0" cy="46339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7F7061D-B399-48DE-930F-D78D1064EAFE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1816100"/>
            <a:ext cx="0" cy="46339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4124B81-F58E-4590-BD57-6AB35941E19B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671988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1E8C3E8-362B-41A1-94FA-85B4A5A69AC6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1582738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8C575FC-93C8-4A7C-BDD1-C33A01125BA8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5845175" y="1816100"/>
            <a:ext cx="0" cy="46339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40E8436-EC51-4A13-BC40-EBD1012DA809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4132263"/>
            <a:ext cx="11603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4162BCA-2149-4BA9-9CAC-5A219C34F798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3360738"/>
            <a:ext cx="11603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5BBDCF3-FAA1-4458-803A-8C563DEE02E6}"/>
              </a:ext>
            </a:extLst>
          </p:cNvPr>
          <p:cNvCxnSpPr/>
          <p:nvPr userDrawn="1">
            <p:custDataLst>
              <p:tags r:id="rId99"/>
            </p:custDataLst>
          </p:nvPr>
        </p:nvCxnSpPr>
        <p:spPr bwMode="auto">
          <a:xfrm>
            <a:off x="284163" y="2587625"/>
            <a:ext cx="11603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93670-1393-4FD0-8FE8-349B36D26C65}"/>
              </a:ext>
            </a:extLst>
          </p:cNvPr>
          <p:cNvCxnSpPr/>
          <p:nvPr userDrawn="1">
            <p:custDataLst>
              <p:tags r:id="rId100"/>
            </p:custDataLst>
          </p:nvPr>
        </p:nvCxnSpPr>
        <p:spPr bwMode="auto">
          <a:xfrm>
            <a:off x="284163" y="5676900"/>
            <a:ext cx="11603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C3269B9-D21A-4738-AE4E-488EE78D98B6}"/>
              </a:ext>
            </a:extLst>
          </p:cNvPr>
          <p:cNvCxnSpPr/>
          <p:nvPr userDrawn="1">
            <p:custDataLst>
              <p:tags r:id="rId101"/>
            </p:custDataLst>
          </p:nvPr>
        </p:nvCxnSpPr>
        <p:spPr bwMode="auto">
          <a:xfrm>
            <a:off x="284163" y="4905375"/>
            <a:ext cx="11603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4E8EC00-57FF-45D3-B643-C08143761E82}"/>
              </a:ext>
            </a:extLst>
          </p:cNvPr>
          <p:cNvCxnSpPr/>
          <p:nvPr userDrawn="1">
            <p:custDataLst>
              <p:tags r:id="rId102"/>
            </p:custDataLst>
          </p:nvPr>
        </p:nvCxnSpPr>
        <p:spPr bwMode="auto">
          <a:xfrm>
            <a:off x="284163" y="6450013"/>
            <a:ext cx="11603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05A66DF4-DF34-4950-9670-93286F132408}"/>
              </a:ext>
            </a:extLst>
          </p:cNvPr>
          <p:cNvCxnSpPr/>
          <p:nvPr userDrawn="1">
            <p:custDataLst>
              <p:tags r:id="rId103"/>
            </p:custDataLst>
          </p:nvPr>
        </p:nvCxnSpPr>
        <p:spPr bwMode="auto">
          <a:xfrm>
            <a:off x="284163" y="1816100"/>
            <a:ext cx="11603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A8EA6373-C74C-4780-8A9E-F99180C3789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 bwMode="auto">
          <a:xfrm>
            <a:off x="325438" y="167957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07227BB3-7B5F-4F66-8264-54E4BBA8FA29}" type="datetime'Ac''''''''''''ti''''''''v''i''''''t''''''''''''''''''y'''''''">
              <a:rPr lang="en-US" altLang="en-US" sz="800" b="1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5CB258D-6822-4E96-B60C-553FFDFBE1DB}"/>
              </a:ext>
            </a:extLst>
          </p:cNvPr>
          <p:cNvSpPr txBox="1"/>
          <p:nvPr userDrawn="1"/>
        </p:nvSpPr>
        <p:spPr>
          <a:xfrm>
            <a:off x="11377259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309B4CF-CFDE-4490-B56A-7EC834F3B99A}"/>
              </a:ext>
            </a:extLst>
          </p:cNvPr>
          <p:cNvSpPr txBox="1"/>
          <p:nvPr userDrawn="1"/>
        </p:nvSpPr>
        <p:spPr>
          <a:xfrm>
            <a:off x="7621744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97" name="Isosceles Triangle 96">
            <a:extLst>
              <a:ext uri="{FF2B5EF4-FFF2-40B4-BE49-F238E27FC236}">
                <a16:creationId xmlns:a16="http://schemas.microsoft.com/office/drawing/2014/main" id="{B1940586-599A-4626-B20F-0631285D8BE6}"/>
              </a:ext>
            </a:extLst>
          </p:cNvPr>
          <p:cNvSpPr/>
          <p:nvPr userDrawn="1">
            <p:custDataLst>
              <p:tags r:id="rId105"/>
            </p:custDataLst>
          </p:nvPr>
        </p:nvSpPr>
        <p:spPr bwMode="auto">
          <a:xfrm>
            <a:off x="7562863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id="{C6B88741-C3A3-4822-95ED-C5D9A637FE61}"/>
              </a:ext>
            </a:extLst>
          </p:cNvPr>
          <p:cNvSpPr/>
          <p:nvPr userDrawn="1">
            <p:custDataLst>
              <p:tags r:id="rId106"/>
            </p:custDataLst>
          </p:nvPr>
        </p:nvSpPr>
        <p:spPr bwMode="auto">
          <a:xfrm>
            <a:off x="11307527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Box 20">
            <a:extLst>
              <a:ext uri="{FF2B5EF4-FFF2-40B4-BE49-F238E27FC236}">
                <a16:creationId xmlns:a16="http://schemas.microsoft.com/office/drawing/2014/main" id="{440E6EBB-F558-4393-8A9B-3521AD0C35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082880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100" name="TextBox 21">
            <a:extLst>
              <a:ext uri="{FF2B5EF4-FFF2-40B4-BE49-F238E27FC236}">
                <a16:creationId xmlns:a16="http://schemas.microsoft.com/office/drawing/2014/main" id="{F1C8FB9F-A4FA-4281-A637-37284B9554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07649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47482FE8-695C-413E-87C6-3A8FC9C1461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18633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Isosceles Triangle 101">
            <a:extLst>
              <a:ext uri="{FF2B5EF4-FFF2-40B4-BE49-F238E27FC236}">
                <a16:creationId xmlns:a16="http://schemas.microsoft.com/office/drawing/2014/main" id="{EA337A7E-53F9-4E0E-98A0-F2AA51C876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48584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Box 22">
            <a:extLst>
              <a:ext uri="{FF2B5EF4-FFF2-40B4-BE49-F238E27FC236}">
                <a16:creationId xmlns:a16="http://schemas.microsoft.com/office/drawing/2014/main" id="{42D47C67-7048-408F-BC5A-1257D49CBE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1772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FE96BCDA-7A30-4B32-B123-65AF831337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267656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1CFBD01-8F00-41B8-8416-BDFC26474944}"/>
              </a:ext>
            </a:extLst>
          </p:cNvPr>
          <p:cNvSpPr/>
          <p:nvPr userDrawn="1"/>
        </p:nvSpPr>
        <p:spPr>
          <a:xfrm>
            <a:off x="7466888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0" name="Text Placeholder 4">
            <a:extLst>
              <a:ext uri="{FF2B5EF4-FFF2-40B4-BE49-F238E27FC236}">
                <a16:creationId xmlns:a16="http://schemas.microsoft.com/office/drawing/2014/main" id="{F6D2351F-378A-498F-83D3-C0069B529D3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158849" y="5902263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5580E463-7365-4B78-83B9-36D528AF6A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50818" y="4360821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10D10594-9849-4938-8399-CB26376560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16200000">
            <a:off x="150818" y="3590100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9DFFC6C7-8B71-40D1-A5E1-285D390B509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 rot="16200000">
            <a:off x="150819" y="2819379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BC3530A2-40A4-4EC3-8117-44C7E2B5A2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rot="16200000">
            <a:off x="150820" y="2048658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49EBC144-5BC0-4A00-A607-B723E19376A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rot="16200000">
            <a:off x="158850" y="5131542"/>
            <a:ext cx="716805" cy="32974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935792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CF2ED5A-F7FD-45FA-94D6-4EFE9F4965B8}"/>
              </a:ext>
            </a:extLst>
          </p:cNvPr>
          <p:cNvSpPr txBox="1">
            <a:spLocks/>
          </p:cNvSpPr>
          <p:nvPr userDrawn="1"/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100" b="0" i="0" baseline="0">
                <a:solidFill>
                  <a:schemeClr val="tx2"/>
                </a:solidFill>
                <a:latin typeface="DIN Pro" charset="0"/>
                <a:ea typeface="DIN Pro" charset="0"/>
                <a:cs typeface="DIN Pro" charset="0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>
                <a:latin typeface="+mn-lt"/>
              </a:rPr>
              <a:t>Agenda</a:t>
            </a:r>
          </a:p>
        </p:txBody>
      </p:sp>
      <p:pic>
        <p:nvPicPr>
          <p:cNvPr id="5" name="Picture 4" descr="A white sports car&#10;&#10;Description automatically generated with medium confidence">
            <a:extLst>
              <a:ext uri="{FF2B5EF4-FFF2-40B4-BE49-F238E27FC236}">
                <a16:creationId xmlns:a16="http://schemas.microsoft.com/office/drawing/2014/main" id="{3ACE2337-B096-490D-A3AD-B01A32B9F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1629" y="-13200"/>
            <a:ext cx="4390372" cy="687119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BE4E8F-226E-47CF-BFE4-815DF4052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1219200"/>
            <a:ext cx="3905250" cy="2854325"/>
          </a:xfrm>
          <a:prstGeom prst="rect">
            <a:avLst/>
          </a:prstGeom>
        </p:spPr>
        <p:txBody>
          <a:bodyPr/>
          <a:lstStyle>
            <a:lvl1pPr marL="341313" indent="-341313">
              <a:lnSpc>
                <a:spcPct val="150000"/>
              </a:lnSpc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Agenda Points</a:t>
            </a:r>
          </a:p>
        </p:txBody>
      </p:sp>
      <p:pic>
        <p:nvPicPr>
          <p:cNvPr id="7" name="Picture 6" descr="A close up of a car dashboard&#10;&#10;Description automatically generated with medium confidence">
            <a:extLst>
              <a:ext uri="{FF2B5EF4-FFF2-40B4-BE49-F238E27FC236}">
                <a16:creationId xmlns:a16="http://schemas.microsoft.com/office/drawing/2014/main" id="{B4557813-EE1C-41EC-A96B-84732C150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709" r="21439"/>
          <a:stretch/>
        </p:blipFill>
        <p:spPr>
          <a:xfrm>
            <a:off x="7801628" y="-16998"/>
            <a:ext cx="4390372" cy="687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872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3F2933-666F-4F40-930A-0CDDE4F9BF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3310"/>
          <a:stretch/>
        </p:blipFill>
        <p:spPr>
          <a:xfrm>
            <a:off x="5169810" y="2520323"/>
            <a:ext cx="1852380" cy="139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51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5BA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9"/>
              </a:lnSpc>
            </a:pPr>
            <a:r>
              <a:t>Automotive</a:t>
            </a:r>
            <a:r>
              <a:rPr spc="40"/>
              <a:t> </a:t>
            </a:r>
            <a:r>
              <a:rPr spc="-10"/>
              <a:t>Division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95885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17013454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9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9D3F1-DAC9-479D-AED8-BC00425C8E12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9D752-E42A-4419-8B43-46EBF34C0E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7161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61750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CF2ED5A-F7FD-45FA-94D6-4EFE9F4965B8}"/>
              </a:ext>
            </a:extLst>
          </p:cNvPr>
          <p:cNvSpPr txBox="1">
            <a:spLocks/>
          </p:cNvSpPr>
          <p:nvPr userDrawn="1"/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100" b="0" i="0" baseline="0">
                <a:solidFill>
                  <a:schemeClr val="tx2"/>
                </a:solidFill>
                <a:latin typeface="DIN Pro" charset="0"/>
                <a:ea typeface="DIN Pro" charset="0"/>
                <a:cs typeface="DIN Pro" charset="0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>
                <a:latin typeface="+mn-lt"/>
              </a:rPr>
              <a:t>Agenda</a:t>
            </a:r>
          </a:p>
        </p:txBody>
      </p:sp>
      <p:pic>
        <p:nvPicPr>
          <p:cNvPr id="5" name="Picture 4" descr="A white sports car&#10;&#10;Description automatically generated with medium confidence">
            <a:extLst>
              <a:ext uri="{FF2B5EF4-FFF2-40B4-BE49-F238E27FC236}">
                <a16:creationId xmlns:a16="http://schemas.microsoft.com/office/drawing/2014/main" id="{3ACE2337-B096-490D-A3AD-B01A32B9F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1629" y="-13200"/>
            <a:ext cx="4390372" cy="687119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BE4E8F-226E-47CF-BFE4-815DF4052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1219200"/>
            <a:ext cx="3905250" cy="2854325"/>
          </a:xfrm>
          <a:prstGeom prst="rect">
            <a:avLst/>
          </a:prstGeom>
        </p:spPr>
        <p:txBody>
          <a:bodyPr/>
          <a:lstStyle>
            <a:lvl1pPr marL="341313" indent="-341313">
              <a:lnSpc>
                <a:spcPct val="150000"/>
              </a:lnSpc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Agenda Points</a:t>
            </a:r>
          </a:p>
        </p:txBody>
      </p:sp>
      <p:pic>
        <p:nvPicPr>
          <p:cNvPr id="7" name="Picture 6" descr="A close up of a car dashboard&#10;&#10;Description automatically generated with medium confidence">
            <a:extLst>
              <a:ext uri="{FF2B5EF4-FFF2-40B4-BE49-F238E27FC236}">
                <a16:creationId xmlns:a16="http://schemas.microsoft.com/office/drawing/2014/main" id="{B4557813-EE1C-41EC-A96B-84732C150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709" r="21439"/>
          <a:stretch/>
        </p:blipFill>
        <p:spPr>
          <a:xfrm>
            <a:off x="7801628" y="-16998"/>
            <a:ext cx="4390372" cy="687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23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899954E-D83C-4E03-A51E-E9EFC4CB52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FAA74F-DE92-4414-B0C7-466184CBCC99}"/>
              </a:ext>
            </a:extLst>
          </p:cNvPr>
          <p:cNvSpPr/>
          <p:nvPr userDrawn="1"/>
        </p:nvSpPr>
        <p:spPr>
          <a:xfrm>
            <a:off x="4093464" y="404813"/>
            <a:ext cx="4005072" cy="17128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EB3FF-7F57-482E-BA1B-44AD9E95F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9D4896A-B348-4A66-B8A4-5E68BBCC49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93465" y="5296344"/>
            <a:ext cx="4005072" cy="1561657"/>
          </a:xfrm>
          <a:prstGeom prst="rect">
            <a:avLst/>
          </a:prstGeom>
          <a:solidFill>
            <a:schemeClr val="tx1"/>
          </a:solidFill>
        </p:spPr>
        <p:txBody>
          <a:bodyPr tIns="90000" bIns="90000" anchor="ctr" anchorCtr="0">
            <a:noAutofit/>
          </a:bodyPr>
          <a:lstStyle>
            <a:lvl1pPr marL="0" indent="0" algn="ctr">
              <a:spcBef>
                <a:spcPts val="488"/>
              </a:spcBef>
              <a:buNone/>
              <a:defRPr sz="2275" i="0">
                <a:solidFill>
                  <a:schemeClr val="bg1"/>
                </a:solidFill>
              </a:defRPr>
            </a:lvl1pPr>
            <a:lvl2pPr marL="371475" indent="0" algn="ctr">
              <a:buNone/>
              <a:defRPr sz="2275">
                <a:solidFill>
                  <a:schemeClr val="bg1"/>
                </a:solidFill>
              </a:defRPr>
            </a:lvl2pPr>
            <a:lvl3pPr marL="742950" indent="0" algn="ctr">
              <a:buNone/>
              <a:defRPr sz="2275">
                <a:solidFill>
                  <a:schemeClr val="bg1"/>
                </a:solidFill>
              </a:defRPr>
            </a:lvl3pPr>
            <a:lvl4pPr marL="1114425" indent="0" algn="ctr">
              <a:buNone/>
              <a:defRPr sz="2275">
                <a:solidFill>
                  <a:schemeClr val="bg1"/>
                </a:solidFill>
              </a:defRPr>
            </a:lvl4pPr>
            <a:lvl5pPr marL="1485900" indent="0" algn="ctr">
              <a:buNone/>
              <a:defRPr sz="22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</a:t>
            </a:r>
            <a:br>
              <a:rPr lang="en-US" noProof="0"/>
            </a:br>
            <a:r>
              <a:rPr lang="en-US" noProof="0"/>
              <a:t>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824308D-CE80-4FF7-81BB-AFBECF7EA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3465" y="2117623"/>
            <a:ext cx="4005072" cy="2977551"/>
          </a:xfrm>
          <a:prstGeom prst="rect">
            <a:avLst/>
          </a:prstGeom>
          <a:solidFill>
            <a:schemeClr val="tx1"/>
          </a:solidFill>
        </p:spPr>
        <p:txBody>
          <a:bodyPr tIns="72000" bIns="216000" anchor="b">
            <a:normAutofit/>
          </a:bodyPr>
          <a:lstStyle>
            <a:lvl1pPr algn="ctr">
              <a:lnSpc>
                <a:spcPct val="85000"/>
              </a:lnSpc>
              <a:defRPr lang="ru-RU" sz="4875" b="1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E46EE0C-8420-4BA8-9E2D-0780DB1E65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30141" y="953857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Rectangle 6" descr="Rectangle shape">
            <a:extLst>
              <a:ext uri="{FF2B5EF4-FFF2-40B4-BE49-F238E27FC236}">
                <a16:creationId xmlns:a16="http://schemas.microsoft.com/office/drawing/2014/main" id="{0A900D34-4B01-4389-9CFF-FFCB0CF7A3CC}"/>
              </a:ext>
            </a:extLst>
          </p:cNvPr>
          <p:cNvSpPr/>
          <p:nvPr userDrawn="1"/>
        </p:nvSpPr>
        <p:spPr>
          <a:xfrm>
            <a:off x="4922520" y="1916455"/>
            <a:ext cx="7269481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8865235-7FA6-4F58-B90E-4404EAE577DF}"/>
              </a:ext>
            </a:extLst>
          </p:cNvPr>
          <p:cNvSpPr/>
          <p:nvPr userDrawn="1"/>
        </p:nvSpPr>
        <p:spPr>
          <a:xfrm>
            <a:off x="4093464" y="5095174"/>
            <a:ext cx="4005072" cy="2240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9" name="Rectangle 5" descr="Rectangle shape">
            <a:extLst>
              <a:ext uri="{FF2B5EF4-FFF2-40B4-BE49-F238E27FC236}">
                <a16:creationId xmlns:a16="http://schemas.microsoft.com/office/drawing/2014/main" id="{72ED261F-FABA-4D73-8360-A897A6082FA6}"/>
              </a:ext>
            </a:extLst>
          </p:cNvPr>
          <p:cNvSpPr/>
          <p:nvPr userDrawn="1"/>
        </p:nvSpPr>
        <p:spPr>
          <a:xfrm>
            <a:off x="-1" y="5095175"/>
            <a:ext cx="7269481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2017752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Blocks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790C1-778D-449B-9C8D-C9FC1B327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MM.DD.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FF8FD5-F70C-4F63-B90E-47DD23FC0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5E539-C700-4989-957A-EA3BAAC4B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9B2652-8511-4839-BEE4-52E3C2B884D9}"/>
              </a:ext>
            </a:extLst>
          </p:cNvPr>
          <p:cNvSpPr/>
          <p:nvPr userDrawn="1"/>
        </p:nvSpPr>
        <p:spPr>
          <a:xfrm>
            <a:off x="11352214" y="6246908"/>
            <a:ext cx="839787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947FF51-80C5-433A-A515-4334E29588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2258" y="1740127"/>
            <a:ext cx="7800832" cy="93960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buNone/>
              <a:defRPr sz="1463" b="1" i="1">
                <a:solidFill>
                  <a:schemeClr val="tx1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5FB13D-D6DC-4762-A443-A1E33781FA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216020" y="4552666"/>
            <a:ext cx="2926080" cy="11353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488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138" b="0" i="0">
                <a:solidFill>
                  <a:schemeClr val="tx2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8EFAFB9-41FD-471B-8C26-B5481B74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17258"/>
            <a:ext cx="7800832" cy="59413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925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0D239C0-D332-4295-B0D2-EE7E153AEF8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216020" y="4002722"/>
            <a:ext cx="2926080" cy="4673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88" b="1" i="0">
                <a:solidFill>
                  <a:schemeClr val="tx1"/>
                </a:solidFill>
                <a:latin typeface="+mj-lt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Category Title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6CFA9DC2-8816-4504-9E78-0D6A51A4ABB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13410" y="774398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9DB526-D20B-406D-B9C4-1B2FE49223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2259" y="2780485"/>
            <a:ext cx="1188720" cy="118872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5688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6963D45-FFEE-47B2-BF3C-EF83D09DA71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4834375" y="4552666"/>
            <a:ext cx="2926080" cy="11353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488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138" b="0" i="0">
                <a:solidFill>
                  <a:schemeClr val="tx2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C6A052-44FB-4766-A715-5F60A7AEF0AD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4834375" y="4002722"/>
            <a:ext cx="2926080" cy="4673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88" b="1" i="0">
                <a:solidFill>
                  <a:schemeClr val="tx1"/>
                </a:solidFill>
                <a:latin typeface="+mj-lt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Category Titl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26217025-86DB-4E40-9AE4-98C2F14CA8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80614" y="2780485"/>
            <a:ext cx="1188720" cy="118872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5688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DA6EA2-A642-4AE3-88FA-F776A7BE3CA8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452731" y="4552666"/>
            <a:ext cx="2926080" cy="11353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488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138" b="0" i="0">
                <a:solidFill>
                  <a:schemeClr val="tx2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CF657BA-97D6-465F-8436-31FB0B884C8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452731" y="4002722"/>
            <a:ext cx="2926080" cy="4673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88" b="1" i="0">
                <a:solidFill>
                  <a:schemeClr val="tx1"/>
                </a:solidFill>
                <a:latin typeface="+mj-lt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Category Title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BAA4180-32A5-4A82-BFBA-8673723FAAE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98969" y="2780485"/>
            <a:ext cx="1188720" cy="118872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5688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18" name="Rectangle 16" descr="Rectangle shape">
            <a:extLst>
              <a:ext uri="{FF2B5EF4-FFF2-40B4-BE49-F238E27FC236}">
                <a16:creationId xmlns:a16="http://schemas.microsoft.com/office/drawing/2014/main" id="{8F2E6E6B-AE50-42CD-844F-3408DB11EFCE}"/>
              </a:ext>
            </a:extLst>
          </p:cNvPr>
          <p:cNvSpPr/>
          <p:nvPr userDrawn="1"/>
        </p:nvSpPr>
        <p:spPr>
          <a:xfrm>
            <a:off x="1" y="1380173"/>
            <a:ext cx="5005520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13589736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790C1-778D-449B-9C8D-C9FC1B327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MM.DD.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FF8FD5-F70C-4F63-B90E-47DD23FC0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5E539-C700-4989-957A-EA3BAAC4B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9B2652-8511-4839-BEE4-52E3C2B884D9}"/>
              </a:ext>
            </a:extLst>
          </p:cNvPr>
          <p:cNvSpPr/>
          <p:nvPr userDrawn="1"/>
        </p:nvSpPr>
        <p:spPr>
          <a:xfrm>
            <a:off x="11352214" y="6246908"/>
            <a:ext cx="839787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14" name="Rectangle 11" descr="Rectangle shape">
            <a:extLst>
              <a:ext uri="{FF2B5EF4-FFF2-40B4-BE49-F238E27FC236}">
                <a16:creationId xmlns:a16="http://schemas.microsoft.com/office/drawing/2014/main" id="{5E384AC3-A3B2-41AF-859D-A91319695A80}"/>
              </a:ext>
            </a:extLst>
          </p:cNvPr>
          <p:cNvSpPr/>
          <p:nvPr userDrawn="1"/>
        </p:nvSpPr>
        <p:spPr>
          <a:xfrm>
            <a:off x="-1" y="1593587"/>
            <a:ext cx="10285886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7EF2D-3C1A-424C-A354-A32F5C031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1878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312BFB-BA84-40BC-BBA2-C29418931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1594" y="2297906"/>
            <a:ext cx="9168815" cy="22621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875"/>
            </a:lvl1pPr>
            <a:lvl2pPr marL="371475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52455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790C1-778D-449B-9C8D-C9FC1B327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MM.DD.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FF8FD5-F70C-4F63-B90E-47DD23FC0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5E539-C700-4989-957A-EA3BAAC4B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9B2652-8511-4839-BEE4-52E3C2B884D9}"/>
              </a:ext>
            </a:extLst>
          </p:cNvPr>
          <p:cNvSpPr/>
          <p:nvPr userDrawn="1"/>
        </p:nvSpPr>
        <p:spPr>
          <a:xfrm>
            <a:off x="11352214" y="6246908"/>
            <a:ext cx="839787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8EFAFB9-41FD-471B-8C26-B5481B74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56086" y="797157"/>
            <a:ext cx="5679831" cy="619448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algn="ctr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925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</a:t>
            </a:r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EE15F6C3-281B-4328-BDB8-4C898228A1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789" y="774398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59B93CA-5AD1-43A8-AF37-7DA25D3B400E}"/>
              </a:ext>
            </a:extLst>
          </p:cNvPr>
          <p:cNvSpPr>
            <a:spLocks noGrp="1"/>
          </p:cNvSpPr>
          <p:nvPr>
            <p:ph type="body" idx="49"/>
          </p:nvPr>
        </p:nvSpPr>
        <p:spPr>
          <a:xfrm>
            <a:off x="5212360" y="1865306"/>
            <a:ext cx="6103964" cy="815993"/>
          </a:xfrm>
          <a:prstGeom prst="rect">
            <a:avLst/>
          </a:prstGeom>
        </p:spPr>
        <p:txBody>
          <a:bodyPr lIns="36000" tIns="0" rIns="0" bIns="0" anchor="t" anchorCtr="0">
            <a:normAutofit/>
          </a:bodyPr>
          <a:lstStyle>
            <a:lvl1pPr marL="0" indent="0">
              <a:buNone/>
              <a:defRPr sz="1463" b="1" i="1">
                <a:solidFill>
                  <a:schemeClr val="tx1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07EA497-80B1-41E2-8E50-4193B3DBB456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838199" y="3126698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EA39902-3138-4686-85B5-3FE813B7BD36}"/>
              </a:ext>
            </a:extLst>
          </p:cNvPr>
          <p:cNvSpPr/>
          <p:nvPr userDrawn="1"/>
        </p:nvSpPr>
        <p:spPr>
          <a:xfrm>
            <a:off x="1798321" y="3126698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7D767E78-191D-404C-98CB-C65C651DC6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1254" y="3329723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1 Name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6474358B-E609-4F26-8A11-64E0DC41AD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2833" y="3658534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61" name="Picture Placeholder 7">
            <a:extLst>
              <a:ext uri="{FF2B5EF4-FFF2-40B4-BE49-F238E27FC236}">
                <a16:creationId xmlns:a16="http://schemas.microsoft.com/office/drawing/2014/main" id="{75335C46-548C-42F2-89FC-909F3B24282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977409" y="3126698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66A588B-BA73-49FD-9E1E-1F1C51FD3850}"/>
              </a:ext>
            </a:extLst>
          </p:cNvPr>
          <p:cNvSpPr/>
          <p:nvPr userDrawn="1"/>
        </p:nvSpPr>
        <p:spPr>
          <a:xfrm>
            <a:off x="8937529" y="3126698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15790237-9A5F-4A9F-A5BB-E4FF0712C5E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60464" y="3329723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3 Name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A0554067-4F62-4CE7-AF48-55BBD708AC9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062041" y="3658534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65" name="Picture Placeholder 7">
            <a:extLst>
              <a:ext uri="{FF2B5EF4-FFF2-40B4-BE49-F238E27FC236}">
                <a16:creationId xmlns:a16="http://schemas.microsoft.com/office/drawing/2014/main" id="{AA1B0DE9-602F-4ECB-AF1E-00D45491BC91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4403916" y="3126698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43DD23D-9D79-4667-BB9E-A3A54505AEDA}"/>
              </a:ext>
            </a:extLst>
          </p:cNvPr>
          <p:cNvSpPr/>
          <p:nvPr userDrawn="1"/>
        </p:nvSpPr>
        <p:spPr>
          <a:xfrm>
            <a:off x="5364038" y="3126698"/>
            <a:ext cx="2399617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FFDAE67E-CF93-4600-BFAE-AF6B317A9EB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86971" y="3329723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2 Name</a:t>
            </a:r>
          </a:p>
        </p:txBody>
      </p:sp>
      <p:sp>
        <p:nvSpPr>
          <p:cNvPr id="68" name="Text Placeholder 17">
            <a:extLst>
              <a:ext uri="{FF2B5EF4-FFF2-40B4-BE49-F238E27FC236}">
                <a16:creationId xmlns:a16="http://schemas.microsoft.com/office/drawing/2014/main" id="{0F0E3D9A-B0CE-4BF9-A274-1FB704C416E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88548" y="3658534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69" name="Picture Placeholder 7">
            <a:extLst>
              <a:ext uri="{FF2B5EF4-FFF2-40B4-BE49-F238E27FC236}">
                <a16:creationId xmlns:a16="http://schemas.microsoft.com/office/drawing/2014/main" id="{36B2F594-9AB1-4C33-86BE-4732609D6B0A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278465" y="4316113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7FB6684-D013-48BC-9926-29E0BCA889B1}"/>
              </a:ext>
            </a:extLst>
          </p:cNvPr>
          <p:cNvSpPr/>
          <p:nvPr userDrawn="1"/>
        </p:nvSpPr>
        <p:spPr>
          <a:xfrm>
            <a:off x="2238586" y="4316113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EECC50BE-82E8-4ECC-B642-5C11A927A70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361520" y="4519138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4 Name</a:t>
            </a:r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4D96D406-D0F6-4E2D-BAE8-7B011D620FE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363098" y="4847949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73" name="Picture Placeholder 7">
            <a:extLst>
              <a:ext uri="{FF2B5EF4-FFF2-40B4-BE49-F238E27FC236}">
                <a16:creationId xmlns:a16="http://schemas.microsoft.com/office/drawing/2014/main" id="{5668E7D0-A78F-45EC-BEC4-CAB0E6F96F3D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8417675" y="4316113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02DAEE6-8B1C-4222-949F-830F7C3A4E16}"/>
              </a:ext>
            </a:extLst>
          </p:cNvPr>
          <p:cNvSpPr/>
          <p:nvPr userDrawn="1"/>
        </p:nvSpPr>
        <p:spPr>
          <a:xfrm>
            <a:off x="9377795" y="4316113"/>
            <a:ext cx="2395728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3CE9A073-35B5-4F1C-85E3-4BB12A5F435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0729" y="4519138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6 Name</a:t>
            </a:r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F7309B33-C344-4C68-8156-822D38F43FE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2308" y="4847949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77" name="Picture Placeholder 7">
            <a:extLst>
              <a:ext uri="{FF2B5EF4-FFF2-40B4-BE49-F238E27FC236}">
                <a16:creationId xmlns:a16="http://schemas.microsoft.com/office/drawing/2014/main" id="{D6B0782E-8C48-4FC4-B086-A5606E01F5DB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4844182" y="4316113"/>
            <a:ext cx="960121" cy="9601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138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195F5-3125-484A-954D-EB0E743F6947}"/>
              </a:ext>
            </a:extLst>
          </p:cNvPr>
          <p:cNvSpPr/>
          <p:nvPr userDrawn="1"/>
        </p:nvSpPr>
        <p:spPr>
          <a:xfrm>
            <a:off x="5804304" y="4316113"/>
            <a:ext cx="2399617" cy="96012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79" name="Text Placeholder 17">
            <a:extLst>
              <a:ext uri="{FF2B5EF4-FFF2-40B4-BE49-F238E27FC236}">
                <a16:creationId xmlns:a16="http://schemas.microsoft.com/office/drawing/2014/main" id="{428D2D4B-ED0B-40E0-9ECD-C95A1903990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27237" y="4519138"/>
            <a:ext cx="2149559" cy="32598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spcBef>
                <a:spcPts val="488"/>
              </a:spcBef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Person 5 Name</a:t>
            </a:r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35125C72-EAD5-4723-BBD0-6B22FA0785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928814" y="4847949"/>
            <a:ext cx="2148282" cy="244923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spcBef>
                <a:spcPts val="488"/>
              </a:spcBef>
              <a:buNone/>
              <a:defRPr sz="1138" b="0" i="1">
                <a:solidFill>
                  <a:schemeClr val="tx2"/>
                </a:solidFill>
                <a:latin typeface="+mn-lt"/>
              </a:defRPr>
            </a:lvl1pPr>
            <a:lvl2pPr marL="37147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2pPr>
            <a:lvl3pPr marL="74295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3pPr>
            <a:lvl4pPr marL="1114425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4pPr>
            <a:lvl5pPr marL="1485900" indent="0" algn="ctr">
              <a:buNone/>
              <a:defRPr sz="1625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Team Member Title</a:t>
            </a:r>
          </a:p>
        </p:txBody>
      </p:sp>
      <p:sp>
        <p:nvSpPr>
          <p:cNvPr id="33" name="Rectangle 63" descr="Rectangle shape">
            <a:extLst>
              <a:ext uri="{FF2B5EF4-FFF2-40B4-BE49-F238E27FC236}">
                <a16:creationId xmlns:a16="http://schemas.microsoft.com/office/drawing/2014/main" id="{ACFA1245-86BF-45AA-B492-5CE7275AFF80}"/>
              </a:ext>
            </a:extLst>
          </p:cNvPr>
          <p:cNvSpPr/>
          <p:nvPr userDrawn="1"/>
        </p:nvSpPr>
        <p:spPr>
          <a:xfrm>
            <a:off x="1" y="1516317"/>
            <a:ext cx="8076794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40645225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s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9E029D3-A2D2-4959-AD45-2926DF4C67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9A919AF-E573-4B3C-8E98-F501EABA1B1B}"/>
              </a:ext>
            </a:extLst>
          </p:cNvPr>
          <p:cNvSpPr/>
          <p:nvPr userDrawn="1"/>
        </p:nvSpPr>
        <p:spPr>
          <a:xfrm>
            <a:off x="4108011" y="765175"/>
            <a:ext cx="3990526" cy="17561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20" name="Rectangle 18" descr="Rectangle shape">
            <a:extLst>
              <a:ext uri="{FF2B5EF4-FFF2-40B4-BE49-F238E27FC236}">
                <a16:creationId xmlns:a16="http://schemas.microsoft.com/office/drawing/2014/main" id="{456AD312-1A1E-4043-B08C-1410D3EDEC27}"/>
              </a:ext>
            </a:extLst>
          </p:cNvPr>
          <p:cNvSpPr/>
          <p:nvPr userDrawn="1"/>
        </p:nvSpPr>
        <p:spPr>
          <a:xfrm>
            <a:off x="1" y="5262290"/>
            <a:ext cx="12191999" cy="7772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63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EB3FF-7F57-482E-BA1B-44AD9E95F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824308D-CE80-4FF7-81BB-AFBECF7EA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3465" y="2521330"/>
            <a:ext cx="4005072" cy="2740961"/>
          </a:xfrm>
          <a:prstGeom prst="rect">
            <a:avLst/>
          </a:prstGeom>
          <a:solidFill>
            <a:schemeClr val="tx1"/>
          </a:solidFill>
        </p:spPr>
        <p:txBody>
          <a:bodyPr tIns="72000" rIns="72000" bIns="792000" anchor="b">
            <a:normAutofit/>
          </a:bodyPr>
          <a:lstStyle>
            <a:lvl1pPr algn="ctr">
              <a:lnSpc>
                <a:spcPct val="85000"/>
              </a:lnSpc>
              <a:defRPr lang="ru-RU" sz="4875" b="1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THANK</a:t>
            </a:r>
            <a:br>
              <a:rPr lang="en-US" noProof="0"/>
            </a:br>
            <a:r>
              <a:rPr lang="en-US" noProof="0"/>
              <a:t>YOU!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E46EE0C-8420-4BA8-9E2D-0780DB1E65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30141" y="1338610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1ACAC3-4604-4C09-A60E-353A71E93E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18039" y="4541163"/>
            <a:ext cx="3038475" cy="5905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ugust Bergqvis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7AD3B8E-A11F-4EAE-94E5-5A918EEFB7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8558" y="5378325"/>
            <a:ext cx="1800225" cy="28098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463" b="1" i="1">
                <a:solidFill>
                  <a:schemeClr val="tx2"/>
                </a:solidFill>
              </a:defRPr>
            </a:lvl1pPr>
            <a:lvl2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noProof="0"/>
              <a:t>Phone: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4C7CDA87-1949-494C-94DB-E500247384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78558" y="5658104"/>
            <a:ext cx="2858011" cy="280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678-555-0177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20ADC7-EE42-4D0E-B17A-883FE693D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08012" y="5377934"/>
            <a:ext cx="1800225" cy="28098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463" b="1" i="1">
                <a:solidFill>
                  <a:schemeClr val="tx2"/>
                </a:solidFill>
              </a:defRPr>
            </a:lvl1pPr>
            <a:lvl2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noProof="0"/>
              <a:t>Email: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D9FFFDD-8708-4CDD-974F-8A022BB26A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08012" y="5657711"/>
            <a:ext cx="3684587" cy="280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bergqvist@vanarsdelltd.com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E37318-4A32-4233-997C-CE244B16F5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98537" y="5377934"/>
            <a:ext cx="1800225" cy="28098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463" b="1" i="1">
                <a:solidFill>
                  <a:schemeClr val="tx2"/>
                </a:solidFill>
              </a:defRPr>
            </a:lvl1pPr>
            <a:lvl2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2pPr>
            <a:lvl3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3pPr>
            <a:lvl4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4pPr>
            <a:lvl5pPr>
              <a:defRPr sz="1463">
                <a:solidFill>
                  <a:schemeClr val="bg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noProof="0"/>
              <a:t>Website: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1F818617-24CC-4E07-ABE4-A23E89FC13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98537" y="5657711"/>
            <a:ext cx="3240000" cy="280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1">
                <a:solidFill>
                  <a:schemeClr val="tx1"/>
                </a:solidFill>
                <a:latin typeface="+mj-lt"/>
              </a:defRPr>
            </a:lvl1pPr>
            <a:lvl2pPr>
              <a:defRPr sz="1138">
                <a:solidFill>
                  <a:schemeClr val="bg1"/>
                </a:solidFill>
              </a:defRPr>
            </a:lvl2pPr>
            <a:lvl3pPr>
              <a:defRPr sz="1138">
                <a:solidFill>
                  <a:schemeClr val="bg1"/>
                </a:solidFill>
              </a:defRPr>
            </a:lvl3pPr>
            <a:lvl4pPr>
              <a:defRPr sz="1138">
                <a:solidFill>
                  <a:schemeClr val="bg1"/>
                </a:solidFill>
              </a:defRPr>
            </a:lvl4pPr>
            <a:lvl5pPr>
              <a:defRPr sz="113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www.vanasdelltd.com</a:t>
            </a:r>
          </a:p>
        </p:txBody>
      </p:sp>
      <p:sp>
        <p:nvSpPr>
          <p:cNvPr id="21" name="Rectangle 12" descr="Rectangle shape">
            <a:extLst>
              <a:ext uri="{FF2B5EF4-FFF2-40B4-BE49-F238E27FC236}">
                <a16:creationId xmlns:a16="http://schemas.microsoft.com/office/drawing/2014/main" id="{F63A6226-0829-4BFB-805E-8B463D763BD0}"/>
              </a:ext>
            </a:extLst>
          </p:cNvPr>
          <p:cNvSpPr/>
          <p:nvPr userDrawn="1"/>
        </p:nvSpPr>
        <p:spPr>
          <a:xfrm>
            <a:off x="4760496" y="2320161"/>
            <a:ext cx="7431505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33174280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16229-C268-7AAA-BBA1-CBA957BE73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16E295-683D-B0EE-CB91-409F53B335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636A5-1F57-388E-016E-8FBC2E263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478711-B57E-9B14-5C0B-1AC92BE67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1D78C-7DCD-B023-EBDD-0A5E8D4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462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11476-0DA7-7A37-3486-52A81E399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421F01-12CD-1B0D-5CEF-4A7C4C153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DFADA0-A514-2789-3523-93AE628E4A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40C92-D74D-B8A6-5CD1-F07B0537C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96EBE-D1DB-5F1C-9F8F-5163101F1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190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095A0-4AD3-0EFD-0DD6-81DD724CE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B261A1-A6D2-F6E2-ECE3-8F2D52B14B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C5D965-2545-8F9B-F763-624653883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1C267-1DB1-DE29-40B1-7637FDDDB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4A8F98-FBE8-9222-6741-92F6ECE94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2951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D8B97-2042-0989-C781-6F86D4788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457421-F65E-73AA-33F4-9785A10ADB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E0C7B7-D538-F32C-BA9E-9476654B2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FE6887-82C6-1F2B-8BBD-333EC33B5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E83391-955E-B23B-46D5-657A1FBCB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E09383-83F4-DCEF-2ADD-C9A2A3DB2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3170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4EFB1-EB56-BB20-7E46-4F06F9A0D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140372-99FC-7804-F65B-1E7BC8700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B41FA5-D4EE-C207-BB30-0A724DFBB2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56AB7F-565E-F713-0385-8EC7E65F17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FC976D-1CA1-D6FE-5FD3-5DC6034B2F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952FF8-9AF2-1840-06E6-2C3C80492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B579D7-7073-7D4D-2B61-143F2B583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68E1E6-C5F6-B9A6-8E3A-1A698FF6C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587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44258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3F2933-666F-4F40-930A-0CDDE4F9BF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3310"/>
          <a:stretch/>
        </p:blipFill>
        <p:spPr>
          <a:xfrm>
            <a:off x="5169810" y="2520323"/>
            <a:ext cx="1852380" cy="139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1385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B3B89-69FF-46EF-1527-D733D6C41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438ED9-5FF2-CA49-8889-2AA16A99A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032E93-A086-5A55-CD7B-04EE6F73D5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A4CE03-9EEB-5043-B619-ADD04ACD43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9642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FB5FA0-FD80-55CA-C832-7F9825A94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A5859E-43A8-C28E-69B4-0EE8E8DA3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926216-1F08-3443-FC9C-2FC1C7BE7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4595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4C9F77-4A64-3D1A-0111-D64D0A19D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F58B56-5F7E-711C-AA53-F0F5185F37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B155D4-433D-F066-B908-AC96FD63F5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DF3339-59DE-82B9-F958-B15D24BDA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B9C1AC-45CE-3CD9-BD68-F4EF7C34A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A9EB0F-1612-E23B-A523-FA4FB3502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6033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2AD7D-C4C3-9E40-5195-25F256E63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06456-7B60-E609-46D7-903F709063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A4DA1E-462F-0485-27D0-3C91F0308B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7799D3-661F-D9AF-2582-6AE8D2AF2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EB8116-4835-F97A-373C-2B6750024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7A1E65-59E9-534B-75FA-5F9601699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4890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8146D-8C17-B581-3B5E-AAB62FAF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2C4E12-D5F9-A84A-6859-C7F6C0C357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D4D78D-C9E7-8B31-4777-E4D1B29209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9F96FF-5304-03FC-725D-88606C3F5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3E16E3-04FA-1D11-6F96-BCABA46C4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152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6F689-6834-4696-0353-F1C4FB959E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3EA0C1-C73C-DF83-F40C-B903A9E5C4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C43E5C-9ADE-E419-E4D5-4A90046CEE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8EFEF-49F1-7BBE-081B-AF989344B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B5539-F381-2555-5F71-5A3E41A84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1817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6"/>
          <p:cNvSpPr>
            <a:spLocks noGrp="1"/>
          </p:cNvSpPr>
          <p:nvPr>
            <p:ph type="title"/>
          </p:nvPr>
        </p:nvSpPr>
        <p:spPr>
          <a:xfrm>
            <a:off x="623272" y="2050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5270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level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74234-5F93-5F9A-40DA-0C2173695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425" y="456020"/>
            <a:ext cx="8254675" cy="1377788"/>
          </a:xfrm>
        </p:spPr>
        <p:txBody>
          <a:bodyPr wrap="square" tIns="0" bIns="0">
            <a:noAutofit/>
          </a:bodyPr>
          <a:lstStyle>
            <a:lvl1pPr>
              <a:defRPr sz="5400"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182F0A-8AA6-DE12-1A68-CAFBAF49558D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845193" y="2419350"/>
            <a:ext cx="2631431" cy="289457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86CB3-03BA-E166-B793-EA6A7D7C69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5192" y="5475858"/>
            <a:ext cx="2631431" cy="286767"/>
          </a:xfrm>
        </p:spPr>
        <p:txBody>
          <a:bodyPr wrap="none" lIns="0" tIns="0" bIns="0" anchor="ctr" anchorCtr="0">
            <a:normAutofit/>
          </a:bodyPr>
          <a:lstStyle>
            <a:lvl1pPr marL="0" indent="0">
              <a:buFontTx/>
              <a:buNone/>
              <a:defRPr sz="18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172260E-4272-486F-1DE4-27D88E3393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0475" y="2419351"/>
            <a:ext cx="7545707" cy="323850"/>
          </a:xfrm>
        </p:spPr>
        <p:txBody>
          <a:bodyPr wrap="none" tIns="0" bIns="0" anchor="ctr" anchorCtr="0">
            <a:normAutofit/>
          </a:bodyPr>
          <a:lstStyle>
            <a:lvl1pPr marL="0" indent="0">
              <a:buFontTx/>
              <a:buNone/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0B0173C-1687-99D2-B291-4337CED44C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00475" y="3086108"/>
            <a:ext cx="3419475" cy="3011520"/>
          </a:xfrm>
        </p:spPr>
        <p:txBody>
          <a:bodyPr tIns="0" bIns="0">
            <a:normAutofit/>
          </a:bodyPr>
          <a:lstStyle>
            <a:lvl1pPr marL="0" indent="0">
              <a:buFontTx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BD6EC3F-BB27-051B-D758-1ACAB3C29C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72600" y="1276350"/>
            <a:ext cx="1973582" cy="557458"/>
          </a:xfrm>
        </p:spPr>
        <p:txBody>
          <a:bodyPr tIns="0" bIns="0" anchor="ctr" anchorCtr="0">
            <a:normAutofit/>
          </a:bodyPr>
          <a:lstStyle>
            <a:lvl1pPr marL="0" indent="0">
              <a:buFontTx/>
              <a:buNone/>
              <a:defRPr sz="1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9CF7EAE2-12FD-6EF4-4268-7F96858D0F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26707" y="3086107"/>
            <a:ext cx="3419475" cy="3011520"/>
          </a:xfrm>
        </p:spPr>
        <p:txBody>
          <a:bodyPr tIns="0" bIns="0">
            <a:normAutofit/>
          </a:bodyPr>
          <a:lstStyle>
            <a:lvl1pPr marL="0" indent="0">
              <a:buFontTx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5920401-43F3-16B6-2F9D-2D82DE8EE2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5192" y="5810860"/>
            <a:ext cx="2631431" cy="286767"/>
          </a:xfrm>
        </p:spPr>
        <p:txBody>
          <a:bodyPr wrap="none" lIns="0" tIns="0" bIns="0" anchor="ctr" anchorCtr="0">
            <a:normAutofit/>
          </a:bodyPr>
          <a:lstStyle>
            <a:lvl1pPr marL="0" indent="0">
              <a:buFontTx/>
              <a:buNone/>
              <a:defRPr sz="1600" i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92023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0B3EE2-0917-4527-839B-478DE0399B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3708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>
          <a:xfrm>
            <a:off x="2059889" y="3199736"/>
            <a:ext cx="8840220" cy="62812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SG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70D1E5-3887-4980-BD83-1FF467448DE5}"/>
              </a:ext>
            </a:extLst>
          </p:cNvPr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83D52BF-AFD3-4FEF-AD3A-A2C991C57E67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11762436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0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Picture 606" descr="Image result for al futtaim logo">
            <a:extLst>
              <a:ext uri="{FF2B5EF4-FFF2-40B4-BE49-F238E27FC236}">
                <a16:creationId xmlns:a16="http://schemas.microsoft.com/office/drawing/2014/main" id="{AFAE479C-7A6B-4430-8E64-D5154DCA585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1170FDE-1F8A-4026-A8C5-4B13B02609F1}"/>
              </a:ext>
            </a:extLst>
          </p:cNvPr>
          <p:cNvSpPr txBox="1"/>
          <p:nvPr userDrawn="1"/>
        </p:nvSpPr>
        <p:spPr>
          <a:xfrm>
            <a:off x="254244" y="6587861"/>
            <a:ext cx="1104790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213202573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C26ABB-FC4A-46D6-9B14-76F3BA8E5F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lIns="0" rIns="0"/>
          <a:lstStyle>
            <a:lvl1pPr marL="0" indent="0"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AB8292E-A672-4967-80F1-42DA6F4C84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" y="690183"/>
            <a:ext cx="11544300" cy="38047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</a:lstStyle>
          <a:p>
            <a:pPr lvl="0"/>
            <a:r>
              <a:rPr lang="en-US"/>
              <a:t>Click to edit 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0ADDAD-0E22-46A8-93E6-E51854C37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rcRect r="84418" b="9333"/>
          <a:stretch/>
        </p:blipFill>
        <p:spPr>
          <a:xfrm>
            <a:off x="7949523" y="1584527"/>
            <a:ext cx="4242477" cy="497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664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107378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98372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CF2ED5A-F7FD-45FA-94D6-4EFE9F4965B8}"/>
              </a:ext>
            </a:extLst>
          </p:cNvPr>
          <p:cNvSpPr txBox="1">
            <a:spLocks/>
          </p:cNvSpPr>
          <p:nvPr userDrawn="1"/>
        </p:nvSpPr>
        <p:spPr>
          <a:xfrm>
            <a:off x="342900" y="235817"/>
            <a:ext cx="11544300" cy="380475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100" b="0" i="0" baseline="0">
                <a:solidFill>
                  <a:schemeClr val="tx2"/>
                </a:solidFill>
                <a:latin typeface="DIN Pro" charset="0"/>
                <a:ea typeface="DIN Pro" charset="0"/>
                <a:cs typeface="DIN Pro" charset="0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>
                <a:latin typeface="+mn-lt"/>
              </a:rPr>
              <a:t>Agenda</a:t>
            </a:r>
          </a:p>
        </p:txBody>
      </p:sp>
      <p:pic>
        <p:nvPicPr>
          <p:cNvPr id="5" name="Picture 4" descr="A white sports car&#10;&#10;Description automatically generated with medium confidence">
            <a:extLst>
              <a:ext uri="{FF2B5EF4-FFF2-40B4-BE49-F238E27FC236}">
                <a16:creationId xmlns:a16="http://schemas.microsoft.com/office/drawing/2014/main" id="{3ACE2337-B096-490D-A3AD-B01A32B9F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1629" y="-13200"/>
            <a:ext cx="4390372" cy="687119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BE4E8F-226E-47CF-BFE4-815DF40520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1219200"/>
            <a:ext cx="3905250" cy="2854325"/>
          </a:xfrm>
          <a:prstGeom prst="rect">
            <a:avLst/>
          </a:prstGeom>
        </p:spPr>
        <p:txBody>
          <a:bodyPr/>
          <a:lstStyle>
            <a:lvl1pPr marL="341313" indent="-341313">
              <a:lnSpc>
                <a:spcPct val="150000"/>
              </a:lnSpc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Agenda Points</a:t>
            </a:r>
          </a:p>
        </p:txBody>
      </p:sp>
      <p:pic>
        <p:nvPicPr>
          <p:cNvPr id="7" name="Picture 6" descr="A close up of a car dashboard&#10;&#10;Description automatically generated with medium confidence">
            <a:extLst>
              <a:ext uri="{FF2B5EF4-FFF2-40B4-BE49-F238E27FC236}">
                <a16:creationId xmlns:a16="http://schemas.microsoft.com/office/drawing/2014/main" id="{B4557813-EE1C-41EC-A96B-84732C150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709" r="21439"/>
          <a:stretch/>
        </p:blipFill>
        <p:spPr>
          <a:xfrm>
            <a:off x="7801628" y="-16998"/>
            <a:ext cx="4390372" cy="687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754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3F2933-666F-4F40-930A-0CDDE4F9BF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3310"/>
          <a:stretch/>
        </p:blipFill>
        <p:spPr>
          <a:xfrm>
            <a:off x="5169810" y="2520323"/>
            <a:ext cx="1852380" cy="139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543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0919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6"/>
          <p:cNvSpPr>
            <a:spLocks noGrp="1"/>
          </p:cNvSpPr>
          <p:nvPr>
            <p:ph type="title"/>
          </p:nvPr>
        </p:nvSpPr>
        <p:spPr>
          <a:xfrm>
            <a:off x="623272" y="2050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194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iddle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itle Placeholder 6"/>
          <p:cNvSpPr>
            <a:spLocks noGrp="1"/>
          </p:cNvSpPr>
          <p:nvPr>
            <p:ph type="title"/>
          </p:nvPr>
        </p:nvSpPr>
        <p:spPr>
          <a:xfrm>
            <a:off x="1222656" y="3034971"/>
            <a:ext cx="3828288" cy="10335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2607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6"/>
          <p:cNvSpPr>
            <a:spLocks noGrp="1"/>
          </p:cNvSpPr>
          <p:nvPr>
            <p:ph type="title"/>
          </p:nvPr>
        </p:nvSpPr>
        <p:spPr>
          <a:xfrm>
            <a:off x="838200" y="2050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2373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59B3A-2AAE-A4DF-8465-238FFC76DB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ar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8B33A6-F86C-DE79-2963-E61312DCB0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ar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47EB6-2971-A088-DCCC-13E818677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A3EAD-3F06-4C94-8DD2-87FA3D2DC0C9}" type="datetimeFigureOut">
              <a:rPr lang="ar-AE" smtClean="0"/>
              <a:t>07/04/1446</a:t>
            </a:fld>
            <a:endParaRPr lang="ar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E66098-9B87-C4E1-D117-74F79FAEE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22B694-A9FF-F4F5-4348-AA4AB1BE5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FAAE9-D622-4F4C-BAEF-246DD84B7796}" type="slidenum">
              <a:rPr lang="ar-AE" smtClean="0"/>
              <a:t>‹#›</a:t>
            </a:fld>
            <a:endParaRPr lang="ar-AE"/>
          </a:p>
        </p:txBody>
      </p:sp>
    </p:spTree>
    <p:extLst>
      <p:ext uri="{BB962C8B-B14F-4D97-AF65-F5344CB8AC3E}">
        <p14:creationId xmlns:p14="http://schemas.microsoft.com/office/powerpoint/2010/main" val="13335124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233259" y="234863"/>
            <a:ext cx="11725485" cy="27699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01923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98777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379200" cy="442556"/>
          </a:xfrm>
        </p:spPr>
        <p:txBody>
          <a:bodyPr>
            <a:noAutofit/>
          </a:bodyPr>
          <a:lstStyle>
            <a:lvl1pPr algn="l">
              <a:defRPr sz="3200" b="0">
                <a:effectLst/>
                <a:latin typeface="Nobel-Book" panose="02000503040000020004" pitchFamily="2" charset="0"/>
                <a:cs typeface="Nobel-Book" panose="02000503040000020004" pitchFamily="2" charset="0"/>
              </a:defRPr>
            </a:lvl1pPr>
          </a:lstStyle>
          <a:p>
            <a:r>
              <a:rPr lang="en-US" dirty="0"/>
              <a:t>CLICK TO EDI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43000"/>
            <a:ext cx="10871200" cy="4648201"/>
          </a:xfrm>
        </p:spPr>
        <p:txBody>
          <a:bodyPr/>
          <a:lstStyle>
            <a:lvl1pPr marL="342900" indent="-342900">
              <a:buFont typeface="Nobel-Book" panose="02000503040000020004" pitchFamily="2" charset="0"/>
              <a:buChar char="-"/>
              <a:tabLst>
                <a:tab pos="0" algn="l"/>
              </a:tabLst>
              <a:defRPr sz="2000">
                <a:latin typeface="Nobel-Book" panose="02000503040000020004" pitchFamily="2" charset="0"/>
                <a:cs typeface="Nobel-Book" panose="02000503040000020004" pitchFamily="2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1800">
                <a:latin typeface="Nobel-Book" panose="02000503040000020004" pitchFamily="2" charset="0"/>
                <a:cs typeface="Nobel-Book" panose="02000503040000020004" pitchFamily="2" charset="0"/>
              </a:defRPr>
            </a:lvl2pPr>
            <a:lvl3pPr marL="1143000" indent="-228600">
              <a:buFont typeface="Nobel-Book" panose="02000503040000020004" pitchFamily="2" charset="0"/>
              <a:buChar char="−"/>
              <a:defRPr sz="1800">
                <a:latin typeface="Nobel-Book" panose="02000503040000020004" pitchFamily="2" charset="0"/>
                <a:cs typeface="Nobel-Book" panose="02000503040000020004" pitchFamily="2" charset="0"/>
              </a:defRPr>
            </a:lvl3pPr>
            <a:lvl4pPr>
              <a:defRPr sz="1600">
                <a:latin typeface="Nobel-Book" panose="02000503040000020004" pitchFamily="2" charset="0"/>
                <a:cs typeface="Nobel-Book" panose="02000503040000020004" pitchFamily="2" charset="0"/>
              </a:defRPr>
            </a:lvl4pPr>
            <a:lvl5pPr>
              <a:defRPr sz="1600">
                <a:latin typeface="Nobel-Book" panose="02000503040000020004" pitchFamily="2" charset="0"/>
                <a:cs typeface="Nobel-Book" panose="0200050304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996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9D3F1-DAC9-479D-AED8-BC00425C8E12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9D752-E42A-4419-8B43-46EBF34C0E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5197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y Slid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95469" y="374154"/>
            <a:ext cx="6211927" cy="4409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defRPr sz="2800" b="1" cap="all" spc="0" baseline="0">
                <a:solidFill>
                  <a:schemeClr val="tx1"/>
                </a:solidFill>
                <a:latin typeface="Toyota Display" panose="020B0503040202020203" pitchFamily="34" charset="0"/>
                <a:cs typeface="Nobel-Regular" panose="02000503030000020004" pitchFamily="2" charset="0"/>
              </a:defRPr>
            </a:lvl1pPr>
          </a:lstStyle>
          <a:p>
            <a:r>
              <a:rPr lang="en-US"/>
              <a:t>Heading Copy Here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73F14-68E6-0D40-8C86-4D7BCC64F8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836613"/>
            <a:ext cx="6192837" cy="432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0" i="0">
                <a:solidFill>
                  <a:schemeClr val="tx1"/>
                </a:solidFill>
                <a:latin typeface="Toyota Display" panose="020B0503040202020203" pitchFamily="34" charset="0"/>
                <a:cs typeface="Nobel-Light" panose="02000506020000020004" pitchFamily="2" charset="0"/>
              </a:defRPr>
            </a:lvl1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7A2154B-A454-8249-909D-10FDDFC096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391" y="1370483"/>
            <a:ext cx="11095789" cy="4722813"/>
          </a:xfrm>
          <a:prstGeom prst="rect">
            <a:avLst/>
          </a:prstGeom>
        </p:spPr>
        <p:txBody>
          <a:bodyPr/>
          <a:lstStyle>
            <a:lvl1pPr>
              <a:defRPr lang="en-US" altLang="ja-JP" sz="2400" dirty="0">
                <a:solidFill>
                  <a:schemeClr val="tx1"/>
                </a:solidFill>
                <a:latin typeface="Toyota Display" panose="020B0503040202020203" pitchFamily="34" charset="0"/>
                <a:ea typeface="ＭＳ Ｐゴシック" panose="020B0600070205080204" pitchFamily="50" charset="-128"/>
                <a:cs typeface="Nobel-Book" panose="02000503040000020004" pitchFamily="2" charset="0"/>
              </a:defRPr>
            </a:lvl1pPr>
            <a:lvl2pPr>
              <a:defRPr lang="en-US" altLang="ja-JP" sz="2200" dirty="0">
                <a:solidFill>
                  <a:schemeClr val="tx1"/>
                </a:solidFill>
                <a:latin typeface="Toyota Display" panose="020B0503040202020203" pitchFamily="34" charset="0"/>
                <a:ea typeface="ＭＳ Ｐゴシック" panose="020B0600070205080204" pitchFamily="50" charset="-128"/>
                <a:cs typeface="Nobel-Book" panose="02000503040000020004" pitchFamily="2" charset="0"/>
              </a:defRPr>
            </a:lvl2pPr>
            <a:lvl3pPr>
              <a:defRPr lang="en-US" altLang="ja-JP" dirty="0">
                <a:solidFill>
                  <a:schemeClr val="tx1"/>
                </a:solidFill>
                <a:latin typeface="Toyota Display" panose="020B0503040202020203" pitchFamily="34" charset="0"/>
                <a:ea typeface="ＭＳ Ｐゴシック" panose="020B0600070205080204" pitchFamily="50" charset="-128"/>
                <a:cs typeface="Nobel-Book" panose="02000503040000020004" pitchFamily="2" charset="0"/>
              </a:defRPr>
            </a:lvl3pPr>
            <a:lvl5pPr>
              <a:defRPr lang="en-US" dirty="0">
                <a:solidFill>
                  <a:schemeClr val="tx1"/>
                </a:solidFill>
                <a:latin typeface="Toyota Display" panose="020B0503040202020203" pitchFamily="34" charset="0"/>
                <a:cs typeface="Nobel-Book" panose="02000503040000020004" pitchFamily="2" charset="0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altLang="ja-JP"/>
              <a:t>Editable body copy</a:t>
            </a:r>
          </a:p>
          <a:p>
            <a:pPr marL="458788" lvl="1" indent="-215900">
              <a:spcBef>
                <a:spcPts val="1000"/>
              </a:spcBef>
              <a:spcAft>
                <a:spcPts val="0"/>
              </a:spcAft>
              <a:tabLst/>
            </a:pPr>
            <a:r>
              <a:rPr lang="en-US" altLang="ja-JP"/>
              <a:t>Editable body copy</a:t>
            </a:r>
          </a:p>
          <a:p>
            <a:pPr marL="809625" lvl="2" indent="-215900">
              <a:spcBef>
                <a:spcPts val="1000"/>
              </a:spcBef>
              <a:spcAft>
                <a:spcPts val="0"/>
              </a:spcAft>
              <a:tabLst/>
            </a:pPr>
            <a:r>
              <a:rPr lang="en-US" altLang="ja-JP"/>
              <a:t>Editable body copy</a:t>
            </a:r>
          </a:p>
          <a:p>
            <a:pPr marL="1323975" lvl="4" indent="-230188">
              <a:spcBef>
                <a:spcPts val="1000"/>
              </a:spcBef>
              <a:spcAft>
                <a:spcPts val="0"/>
              </a:spcAft>
              <a:tabLst/>
            </a:pP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F4C13-B470-1D4C-A3C8-5C85B384C327}"/>
              </a:ext>
            </a:extLst>
          </p:cNvPr>
          <p:cNvSpPr/>
          <p:nvPr userDrawn="1"/>
        </p:nvSpPr>
        <p:spPr>
          <a:xfrm>
            <a:off x="515352" y="395786"/>
            <a:ext cx="85060" cy="841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Toyota Display" panose="020B050304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432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899954E-D83C-4E03-A51E-E9EFC4CB52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FAA74F-DE92-4414-B0C7-466184CBCC99}"/>
              </a:ext>
            </a:extLst>
          </p:cNvPr>
          <p:cNvSpPr/>
          <p:nvPr userDrawn="1"/>
        </p:nvSpPr>
        <p:spPr>
          <a:xfrm>
            <a:off x="4093464" y="404813"/>
            <a:ext cx="4005072" cy="17128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EB3FF-7F57-482E-BA1B-44AD9E95F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9D4896A-B348-4A66-B8A4-5E68BBCC49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93465" y="5296344"/>
            <a:ext cx="4005072" cy="1561657"/>
          </a:xfrm>
          <a:prstGeom prst="rect">
            <a:avLst/>
          </a:prstGeom>
          <a:solidFill>
            <a:schemeClr val="tx1"/>
          </a:solidFill>
        </p:spPr>
        <p:txBody>
          <a:bodyPr tIns="90000" bIns="90000" anchor="ctr" anchorCtr="0">
            <a:noAutofit/>
          </a:bodyPr>
          <a:lstStyle>
            <a:lvl1pPr marL="0" indent="0" algn="ctr">
              <a:spcBef>
                <a:spcPts val="488"/>
              </a:spcBef>
              <a:buNone/>
              <a:defRPr sz="2275" i="0">
                <a:solidFill>
                  <a:schemeClr val="bg1"/>
                </a:solidFill>
              </a:defRPr>
            </a:lvl1pPr>
            <a:lvl2pPr marL="371475" indent="0" algn="ctr">
              <a:buNone/>
              <a:defRPr sz="2275">
                <a:solidFill>
                  <a:schemeClr val="bg1"/>
                </a:solidFill>
              </a:defRPr>
            </a:lvl2pPr>
            <a:lvl3pPr marL="742950" indent="0" algn="ctr">
              <a:buNone/>
              <a:defRPr sz="2275">
                <a:solidFill>
                  <a:schemeClr val="bg1"/>
                </a:solidFill>
              </a:defRPr>
            </a:lvl3pPr>
            <a:lvl4pPr marL="1114425" indent="0" algn="ctr">
              <a:buNone/>
              <a:defRPr sz="2275">
                <a:solidFill>
                  <a:schemeClr val="bg1"/>
                </a:solidFill>
              </a:defRPr>
            </a:lvl4pPr>
            <a:lvl5pPr marL="1485900" indent="0" algn="ctr">
              <a:buNone/>
              <a:defRPr sz="22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</a:t>
            </a:r>
            <a:br>
              <a:rPr lang="en-US" noProof="0"/>
            </a:br>
            <a:r>
              <a:rPr lang="en-US" noProof="0"/>
              <a:t>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824308D-CE80-4FF7-81BB-AFBECF7EA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3465" y="2117623"/>
            <a:ext cx="4005072" cy="2977551"/>
          </a:xfrm>
          <a:prstGeom prst="rect">
            <a:avLst/>
          </a:prstGeom>
          <a:solidFill>
            <a:schemeClr val="tx1"/>
          </a:solidFill>
        </p:spPr>
        <p:txBody>
          <a:bodyPr tIns="72000" bIns="216000" anchor="b">
            <a:normAutofit/>
          </a:bodyPr>
          <a:lstStyle>
            <a:lvl1pPr algn="ctr">
              <a:lnSpc>
                <a:spcPct val="85000"/>
              </a:lnSpc>
              <a:defRPr lang="ru-RU" sz="4875" b="1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E46EE0C-8420-4BA8-9E2D-0780DB1E65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30141" y="953857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Rectangle 6" descr="Rectangle shape">
            <a:extLst>
              <a:ext uri="{FF2B5EF4-FFF2-40B4-BE49-F238E27FC236}">
                <a16:creationId xmlns:a16="http://schemas.microsoft.com/office/drawing/2014/main" id="{0A900D34-4B01-4389-9CFF-FFCB0CF7A3CC}"/>
              </a:ext>
            </a:extLst>
          </p:cNvPr>
          <p:cNvSpPr/>
          <p:nvPr userDrawn="1"/>
        </p:nvSpPr>
        <p:spPr>
          <a:xfrm>
            <a:off x="4922520" y="1916455"/>
            <a:ext cx="7269481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8865235-7FA6-4F58-B90E-4404EAE577DF}"/>
              </a:ext>
            </a:extLst>
          </p:cNvPr>
          <p:cNvSpPr/>
          <p:nvPr userDrawn="1"/>
        </p:nvSpPr>
        <p:spPr>
          <a:xfrm>
            <a:off x="4093464" y="5095174"/>
            <a:ext cx="4005072" cy="2240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9" name="Rectangle 5" descr="Rectangle shape">
            <a:extLst>
              <a:ext uri="{FF2B5EF4-FFF2-40B4-BE49-F238E27FC236}">
                <a16:creationId xmlns:a16="http://schemas.microsoft.com/office/drawing/2014/main" id="{72ED261F-FABA-4D73-8360-A897A6082FA6}"/>
              </a:ext>
            </a:extLst>
          </p:cNvPr>
          <p:cNvSpPr/>
          <p:nvPr userDrawn="1"/>
        </p:nvSpPr>
        <p:spPr>
          <a:xfrm>
            <a:off x="-1" y="5095175"/>
            <a:ext cx="7269481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3320762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Blocks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790C1-778D-449B-9C8D-C9FC1B327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MM.DD.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FF8FD5-F70C-4F63-B90E-47DD23FC0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5E539-C700-4989-957A-EA3BAAC4B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9B2652-8511-4839-BEE4-52E3C2B884D9}"/>
              </a:ext>
            </a:extLst>
          </p:cNvPr>
          <p:cNvSpPr/>
          <p:nvPr userDrawn="1"/>
        </p:nvSpPr>
        <p:spPr>
          <a:xfrm>
            <a:off x="11352214" y="6246908"/>
            <a:ext cx="839787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947FF51-80C5-433A-A515-4334E29588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2258" y="1740127"/>
            <a:ext cx="7800832" cy="93960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buNone/>
              <a:defRPr sz="1463" b="1" i="1">
                <a:solidFill>
                  <a:schemeClr val="tx1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5FB13D-D6DC-4762-A443-A1E33781FA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216020" y="4552666"/>
            <a:ext cx="2926080" cy="11353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488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138" b="0" i="0">
                <a:solidFill>
                  <a:schemeClr val="tx2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8EFAFB9-41FD-471B-8C26-B5481B74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17258"/>
            <a:ext cx="7800832" cy="59413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925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0D239C0-D332-4295-B0D2-EE7E153AEF8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216020" y="4002722"/>
            <a:ext cx="2926080" cy="4673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88" b="1" i="0">
                <a:solidFill>
                  <a:schemeClr val="tx1"/>
                </a:solidFill>
                <a:latin typeface="+mj-lt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Category Title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6CFA9DC2-8816-4504-9E78-0D6A51A4ABB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13410" y="774398"/>
            <a:ext cx="2331721" cy="539496"/>
          </a:xfrm>
          <a:prstGeom prst="rect">
            <a:avLst/>
          </a:prstGeom>
          <a:ln>
            <a:noFill/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138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9DB526-D20B-406D-B9C4-1B2FE49223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2259" y="2780485"/>
            <a:ext cx="1188720" cy="118872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5688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6963D45-FFEE-47B2-BF3C-EF83D09DA71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4834375" y="4552666"/>
            <a:ext cx="2926080" cy="11353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488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138" b="0" i="0">
                <a:solidFill>
                  <a:schemeClr val="tx2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C6A052-44FB-4766-A715-5F60A7AEF0AD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4834375" y="4002722"/>
            <a:ext cx="2926080" cy="4673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88" b="1" i="0">
                <a:solidFill>
                  <a:schemeClr val="tx1"/>
                </a:solidFill>
                <a:latin typeface="+mj-lt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Category Titl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26217025-86DB-4E40-9AE4-98C2F14CA8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80614" y="2780485"/>
            <a:ext cx="1188720" cy="118872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5688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DA6EA2-A642-4AE3-88FA-F776A7BE3CA8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452731" y="4552666"/>
            <a:ext cx="2926080" cy="11353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488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138" b="0" i="0">
                <a:solidFill>
                  <a:schemeClr val="tx2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CF657BA-97D6-465F-8436-31FB0B884C8B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452731" y="4002722"/>
            <a:ext cx="2926080" cy="4673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88" b="1" i="0">
                <a:solidFill>
                  <a:schemeClr val="tx1"/>
                </a:solidFill>
                <a:latin typeface="+mj-lt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noProof="0"/>
              <a:t>Category Title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BAA4180-32A5-4A82-BFBA-8673723FAAE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98969" y="2780485"/>
            <a:ext cx="1188720" cy="118872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5688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18" name="Rectangle 16" descr="Rectangle shape">
            <a:extLst>
              <a:ext uri="{FF2B5EF4-FFF2-40B4-BE49-F238E27FC236}">
                <a16:creationId xmlns:a16="http://schemas.microsoft.com/office/drawing/2014/main" id="{8F2E6E6B-AE50-42CD-844F-3408DB11EFCE}"/>
              </a:ext>
            </a:extLst>
          </p:cNvPr>
          <p:cNvSpPr/>
          <p:nvPr userDrawn="1"/>
        </p:nvSpPr>
        <p:spPr>
          <a:xfrm>
            <a:off x="1" y="1380173"/>
            <a:ext cx="5005520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</p:spTree>
    <p:extLst>
      <p:ext uri="{BB962C8B-B14F-4D97-AF65-F5344CB8AC3E}">
        <p14:creationId xmlns:p14="http://schemas.microsoft.com/office/powerpoint/2010/main" val="4237162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1790C1-778D-449B-9C8D-C9FC1B327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MM.DD.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FF8FD5-F70C-4F63-B90E-47DD23FC0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5E539-C700-4989-957A-EA3BAAC4B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9BB3731-526F-4638-85F8-715D717FFC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9B2652-8511-4839-BEE4-52E3C2B884D9}"/>
              </a:ext>
            </a:extLst>
          </p:cNvPr>
          <p:cNvSpPr/>
          <p:nvPr userDrawn="1"/>
        </p:nvSpPr>
        <p:spPr>
          <a:xfrm>
            <a:off x="11352214" y="6246908"/>
            <a:ext cx="839787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14" name="Rectangle 11" descr="Rectangle shape">
            <a:extLst>
              <a:ext uri="{FF2B5EF4-FFF2-40B4-BE49-F238E27FC236}">
                <a16:creationId xmlns:a16="http://schemas.microsoft.com/office/drawing/2014/main" id="{5E384AC3-A3B2-41AF-859D-A91319695A80}"/>
              </a:ext>
            </a:extLst>
          </p:cNvPr>
          <p:cNvSpPr/>
          <p:nvPr userDrawn="1"/>
        </p:nvSpPr>
        <p:spPr>
          <a:xfrm>
            <a:off x="-1" y="1593587"/>
            <a:ext cx="10285886" cy="2011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7EF2D-3C1A-424C-A354-A32F5C031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1878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312BFB-BA84-40BC-BBA2-C29418931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1594" y="2297906"/>
            <a:ext cx="9168815" cy="22621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875"/>
            </a:lvl1pPr>
            <a:lvl2pPr marL="371475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9198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26" Type="http://schemas.openxmlformats.org/officeDocument/2006/relationships/tags" Target="../tags/tag141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36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32.xml"/><Relationship Id="rId25" Type="http://schemas.openxmlformats.org/officeDocument/2006/relationships/tags" Target="../tags/tag140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29" Type="http://schemas.openxmlformats.org/officeDocument/2006/relationships/tags" Target="../tags/tag14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139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0.xml"/><Relationship Id="rId23" Type="http://schemas.openxmlformats.org/officeDocument/2006/relationships/tags" Target="../tags/tag138.xml"/><Relationship Id="rId28" Type="http://schemas.openxmlformats.org/officeDocument/2006/relationships/tags" Target="../tags/tag14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34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9.xml"/><Relationship Id="rId22" Type="http://schemas.openxmlformats.org/officeDocument/2006/relationships/tags" Target="../tags/tag137.xml"/><Relationship Id="rId27" Type="http://schemas.openxmlformats.org/officeDocument/2006/relationships/tags" Target="../tags/tag142.xml"/><Relationship Id="rId30" Type="http://schemas.openxmlformats.org/officeDocument/2006/relationships/oleObject" Target="../embeddings/oleObject7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heme" Target="../theme/theme3.xml"/><Relationship Id="rId18" Type="http://schemas.openxmlformats.org/officeDocument/2006/relationships/tags" Target="../tags/tag159.xml"/><Relationship Id="rId26" Type="http://schemas.openxmlformats.org/officeDocument/2006/relationships/tags" Target="../tags/tag167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6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29" Type="http://schemas.openxmlformats.org/officeDocument/2006/relationships/tags" Target="../tags/tag170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16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tags" Target="../tags/tag169.xml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160.xml"/><Relationship Id="rId31" Type="http://schemas.openxmlformats.org/officeDocument/2006/relationships/oleObject" Target="../embeddings/oleObject15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tags" Target="../tags/tag168.xml"/><Relationship Id="rId30" Type="http://schemas.openxmlformats.org/officeDocument/2006/relationships/tags" Target="../tags/tag171.xml"/><Relationship Id="rId8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ags" Target="../tags/tag284.xml"/><Relationship Id="rId18" Type="http://schemas.openxmlformats.org/officeDocument/2006/relationships/tags" Target="../tags/tag289.xml"/><Relationship Id="rId26" Type="http://schemas.openxmlformats.org/officeDocument/2006/relationships/tags" Target="../tags/tag297.xml"/><Relationship Id="rId3" Type="http://schemas.openxmlformats.org/officeDocument/2006/relationships/slideLayout" Target="../slideLayouts/slideLayout50.xml"/><Relationship Id="rId21" Type="http://schemas.openxmlformats.org/officeDocument/2006/relationships/tags" Target="../tags/tag292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283.xml"/><Relationship Id="rId17" Type="http://schemas.openxmlformats.org/officeDocument/2006/relationships/tags" Target="../tags/tag288.xml"/><Relationship Id="rId25" Type="http://schemas.openxmlformats.org/officeDocument/2006/relationships/tags" Target="../tags/tag296.xml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287.xml"/><Relationship Id="rId20" Type="http://schemas.openxmlformats.org/officeDocument/2006/relationships/tags" Target="../tags/tag291.xml"/><Relationship Id="rId29" Type="http://schemas.openxmlformats.org/officeDocument/2006/relationships/oleObject" Target="../embeddings/oleObject21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5.xml"/><Relationship Id="rId24" Type="http://schemas.openxmlformats.org/officeDocument/2006/relationships/tags" Target="../tags/tag295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286.xml"/><Relationship Id="rId23" Type="http://schemas.openxmlformats.org/officeDocument/2006/relationships/tags" Target="../tags/tag294.xml"/><Relationship Id="rId28" Type="http://schemas.openxmlformats.org/officeDocument/2006/relationships/tags" Target="../tags/tag299.xml"/><Relationship Id="rId10" Type="http://schemas.openxmlformats.org/officeDocument/2006/relationships/slideLayout" Target="../slideLayouts/slideLayout57.xml"/><Relationship Id="rId19" Type="http://schemas.openxmlformats.org/officeDocument/2006/relationships/tags" Target="../tags/tag29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285.xml"/><Relationship Id="rId22" Type="http://schemas.openxmlformats.org/officeDocument/2006/relationships/tags" Target="../tags/tag293.xml"/><Relationship Id="rId27" Type="http://schemas.openxmlformats.org/officeDocument/2006/relationships/tags" Target="../tags/tag298.x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3753520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62436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00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3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254244" y="6587861"/>
            <a:ext cx="1104790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2948876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>
          <p15:clr>
            <a:srgbClr val="F26B43"/>
          </p15:clr>
        </p15:guide>
        <p15:guide id="2" pos="216">
          <p15:clr>
            <a:srgbClr val="F26B43"/>
          </p15:clr>
        </p15:guide>
        <p15:guide id="3" orient="horz" pos="3936">
          <p15:clr>
            <a:srgbClr val="F26B43"/>
          </p15:clr>
        </p15:guide>
        <p15:guide id="4" pos="74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495745DE-65CD-4F8F-A261-B1F6844343A4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215430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495745DE-65CD-4F8F-A261-B1F6844343A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430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50EA72-916C-45A9-8CEE-73C22063F24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5430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x-none" sz="1837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id="{C56466F6-EF07-4248-BA69-DABE7809A173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113461" y="1979058"/>
            <a:ext cx="1965947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808080"/>
                </a:solidFill>
                <a:latin typeface="+mn-lt"/>
              </a:rPr>
              <a:t>Last Modified 12/08/2020 04:05 Arabian Standard Time</a:t>
            </a:r>
            <a:endParaRPr sz="1632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id="{4C62C3A9-AD64-4F14-A658-E20D7123F4F9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224679" y="4197298"/>
            <a:ext cx="1743510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808080"/>
                </a:solidFill>
                <a:latin typeface="+mn-lt"/>
              </a:rPr>
              <a:t>Printed 25/07/2020 16:01 Arabian Standard Time</a:t>
            </a:r>
            <a:endParaRPr sz="1632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0" name="Title Placeholder 2">
            <a:extLst>
              <a:ext uri="{FF2B5EF4-FFF2-40B4-BE49-F238E27FC236}">
                <a16:creationId xmlns:a16="http://schemas.microsoft.com/office/drawing/2014/main" id="{65A41C96-0F77-4267-817E-43D9C45EF47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3597" y="234864"/>
            <a:ext cx="11725506" cy="31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1. On-page tracker" hidden="1">
            <a:extLst>
              <a:ext uri="{FF2B5EF4-FFF2-40B4-BE49-F238E27FC236}">
                <a16:creationId xmlns:a16="http://schemas.microsoft.com/office/drawing/2014/main" id="{931442EE-D1A0-4B63-8089-4E8E00F02D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77" y="77748"/>
            <a:ext cx="51193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x-none" sz="816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13AE87C4-B8F6-45A9-8AE8-D7105903C5D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1977" y="566911"/>
            <a:ext cx="11725507" cy="2562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632">
                <a:solidFill>
                  <a:schemeClr val="accent6"/>
                </a:solidFill>
                <a:latin typeface="+mn-lt"/>
              </a:rPr>
              <a:t>Unit of measure</a:t>
            </a: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2BBE072D-B39F-4DDA-9700-6AFCBC42F29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2696916" y="2716313"/>
            <a:ext cx="5852224" cy="1255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2" name="ACET" hidden="1">
            <a:extLst>
              <a:ext uri="{FF2B5EF4-FFF2-40B4-BE49-F238E27FC236}">
                <a16:creationId xmlns:a16="http://schemas.microsoft.com/office/drawing/2014/main" id="{61FAE8AD-BB5E-4989-832A-BBF00F7BA2FA}"/>
              </a:ext>
            </a:extLst>
          </p:cNvPr>
          <p:cNvGrpSpPr>
            <a:grpSpLocks/>
          </p:cNvGrpSpPr>
          <p:nvPr/>
        </p:nvGrpSpPr>
        <p:grpSpPr bwMode="auto">
          <a:xfrm>
            <a:off x="2696916" y="1995526"/>
            <a:ext cx="5800391" cy="531276"/>
            <a:chOff x="915" y="702"/>
            <a:chExt cx="2686" cy="328"/>
          </a:xfrm>
        </p:grpSpPr>
        <p:cxnSp>
          <p:nvCxnSpPr>
            <p:cNvPr id="16" name="AutoShape 249">
              <a:extLst>
                <a:ext uri="{FF2B5EF4-FFF2-40B4-BE49-F238E27FC236}">
                  <a16:creationId xmlns:a16="http://schemas.microsoft.com/office/drawing/2014/main" id="{8ED9BC8A-4D2E-4E89-A49F-E394105344CD}"/>
                </a:ext>
              </a:extLst>
            </p:cNvPr>
            <p:cNvCxnSpPr>
              <a:cxnSpLocks noChangeShapeType="1"/>
              <a:stCxn id="1084" idx="4"/>
              <a:endCxn id="108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084" name="AutoShape 250">
              <a:extLst>
                <a:ext uri="{FF2B5EF4-FFF2-40B4-BE49-F238E27FC236}">
                  <a16:creationId xmlns:a16="http://schemas.microsoft.com/office/drawing/2014/main" id="{9FBD549D-4CDA-4E05-8BA8-3B54AA9352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632" b="1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en-US" altLang="en-US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63ACEAC-C6B0-41E5-B556-86BA04F5FF5C}"/>
              </a:ext>
            </a:extLst>
          </p:cNvPr>
          <p:cNvSpPr/>
          <p:nvPr/>
        </p:nvSpPr>
        <p:spPr bwMode="ltGray">
          <a:xfrm>
            <a:off x="1" y="6559967"/>
            <a:ext cx="12192000" cy="298033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1187C83D-ACC0-4338-BCBA-6188D6C566E7}"/>
              </a:ext>
            </a:extLst>
          </p:cNvPr>
          <p:cNvSpPr txBox="1">
            <a:spLocks/>
          </p:cNvSpPr>
          <p:nvPr/>
        </p:nvSpPr>
        <p:spPr bwMode="ltGray">
          <a:xfrm>
            <a:off x="11756636" y="6639267"/>
            <a:ext cx="130848" cy="12809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eaLnBrk="1" hangingPunct="1">
              <a:defRPr/>
            </a:pPr>
            <a:fld id="{EF94B6AB-4536-4756-A909-E92041948507}" type="slidenum">
              <a:rPr sz="816" smtClean="0">
                <a:solidFill>
                  <a:schemeClr val="bg1"/>
                </a:solidFill>
              </a:rPr>
              <a:pPr algn="r" eaLnBrk="1" hangingPunct="1">
                <a:defRPr/>
              </a:pPr>
              <a:t>‹#›</a:t>
            </a:fld>
            <a:endParaRPr sz="816">
              <a:solidFill>
                <a:schemeClr val="bg1"/>
              </a:solidFill>
            </a:endParaRPr>
          </a:p>
        </p:txBody>
      </p:sp>
      <p:grpSp>
        <p:nvGrpSpPr>
          <p:cNvPr id="1037" name="Slide Elements" hidden="1">
            <a:extLst>
              <a:ext uri="{FF2B5EF4-FFF2-40B4-BE49-F238E27FC236}">
                <a16:creationId xmlns:a16="http://schemas.microsoft.com/office/drawing/2014/main" id="{D88D2E6B-6208-462E-A363-E9C8E5CFA72E}"/>
              </a:ext>
            </a:extLst>
          </p:cNvPr>
          <p:cNvGrpSpPr>
            <a:grpSpLocks/>
          </p:cNvGrpSpPr>
          <p:nvPr/>
        </p:nvGrpSpPr>
        <p:grpSpPr bwMode="auto">
          <a:xfrm>
            <a:off x="161977" y="6376793"/>
            <a:ext cx="11725507" cy="390210"/>
            <a:chOff x="119063" y="6249337"/>
            <a:chExt cx="8618537" cy="382998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3CA65476-F2BE-428F-98F3-A3E0D6FBBE9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49337"/>
              <a:ext cx="8618537" cy="1257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 eaLnBrk="1" hangingPunct="1">
                <a:defRPr lang="x-none"/>
              </a:pPr>
              <a:r>
                <a:rPr sz="816">
                  <a:solidFill>
                    <a:srgbClr val="80808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082" name="5. Source">
              <a:extLst>
                <a:ext uri="{FF2B5EF4-FFF2-40B4-BE49-F238E27FC236}">
                  <a16:creationId xmlns:a16="http://schemas.microsoft.com/office/drawing/2014/main" id="{B713F52A-DA66-4DA0-BFC3-D6364B7495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6606"/>
              <a:ext cx="7690797" cy="1257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514350" indent="-5143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816">
                  <a:solidFill>
                    <a:schemeClr val="bg1"/>
                  </a:solidFill>
                </a:rPr>
                <a:t>SOURCE: Source</a:t>
              </a:r>
            </a:p>
          </p:txBody>
        </p:sp>
      </p:grpSp>
      <p:grpSp>
        <p:nvGrpSpPr>
          <p:cNvPr id="1038" name="LegendBoxes" hidden="1">
            <a:extLst>
              <a:ext uri="{FF2B5EF4-FFF2-40B4-BE49-F238E27FC236}">
                <a16:creationId xmlns:a16="http://schemas.microsoft.com/office/drawing/2014/main" id="{A39012C9-BA68-4B75-BB23-9EDD6EC49804}"/>
              </a:ext>
            </a:extLst>
          </p:cNvPr>
          <p:cNvGrpSpPr>
            <a:grpSpLocks/>
          </p:cNvGrpSpPr>
          <p:nvPr/>
        </p:nvGrpSpPr>
        <p:grpSpPr bwMode="auto">
          <a:xfrm>
            <a:off x="11108375" y="275357"/>
            <a:ext cx="788828" cy="1022060"/>
            <a:chOff x="4936" y="176"/>
            <a:chExt cx="487" cy="631"/>
          </a:xfrm>
        </p:grpSpPr>
        <p:sp>
          <p:nvSpPr>
            <p:cNvPr id="1073" name="Legend1">
              <a:extLst>
                <a:ext uri="{FF2B5EF4-FFF2-40B4-BE49-F238E27FC236}">
                  <a16:creationId xmlns:a16="http://schemas.microsoft.com/office/drawing/2014/main" id="{A948A4BB-0516-4838-941F-536D83605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4" name="LegendRectangle1">
              <a:extLst>
                <a:ext uri="{FF2B5EF4-FFF2-40B4-BE49-F238E27FC236}">
                  <a16:creationId xmlns:a16="http://schemas.microsoft.com/office/drawing/2014/main" id="{8EEA361E-265B-414C-BFD9-6AB12AF79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5" name="Legend2">
              <a:extLst>
                <a:ext uri="{FF2B5EF4-FFF2-40B4-BE49-F238E27FC236}">
                  <a16:creationId xmlns:a16="http://schemas.microsoft.com/office/drawing/2014/main" id="{0BF2AB25-A5D7-4042-82D7-86C9C9127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6" name="LegendRectangle2">
              <a:extLst>
                <a:ext uri="{FF2B5EF4-FFF2-40B4-BE49-F238E27FC236}">
                  <a16:creationId xmlns:a16="http://schemas.microsoft.com/office/drawing/2014/main" id="{8F1AF581-37EA-4B54-A7B4-DBB93C1E6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7" name="Legend3">
              <a:extLst>
                <a:ext uri="{FF2B5EF4-FFF2-40B4-BE49-F238E27FC236}">
                  <a16:creationId xmlns:a16="http://schemas.microsoft.com/office/drawing/2014/main" id="{E7D17EA0-463A-4558-ADF1-C0D0D9F4B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8" name="LegendRectangle3">
              <a:extLst>
                <a:ext uri="{FF2B5EF4-FFF2-40B4-BE49-F238E27FC236}">
                  <a16:creationId xmlns:a16="http://schemas.microsoft.com/office/drawing/2014/main" id="{5900952F-562B-4EE3-9DB5-59995BD7E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9" name="Legend4">
              <a:extLst>
                <a:ext uri="{FF2B5EF4-FFF2-40B4-BE49-F238E27FC236}">
                  <a16:creationId xmlns:a16="http://schemas.microsoft.com/office/drawing/2014/main" id="{0248D2EF-996C-432C-A811-3CE80F330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80" name="LegendRectangle4">
              <a:extLst>
                <a:ext uri="{FF2B5EF4-FFF2-40B4-BE49-F238E27FC236}">
                  <a16:creationId xmlns:a16="http://schemas.microsoft.com/office/drawing/2014/main" id="{C171C472-DB04-4AAE-881B-50DDD25DB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</p:grpSp>
      <p:grpSp>
        <p:nvGrpSpPr>
          <p:cNvPr id="1039" name="LegendLines" hidden="1">
            <a:extLst>
              <a:ext uri="{FF2B5EF4-FFF2-40B4-BE49-F238E27FC236}">
                <a16:creationId xmlns:a16="http://schemas.microsoft.com/office/drawing/2014/main" id="{85C8E763-32C7-4BA0-A9C3-73BCA402E7D1}"/>
              </a:ext>
            </a:extLst>
          </p:cNvPr>
          <p:cNvGrpSpPr>
            <a:grpSpLocks/>
          </p:cNvGrpSpPr>
          <p:nvPr/>
        </p:nvGrpSpPr>
        <p:grpSpPr bwMode="auto">
          <a:xfrm>
            <a:off x="10794139" y="275357"/>
            <a:ext cx="1103063" cy="749942"/>
            <a:chOff x="4750" y="176"/>
            <a:chExt cx="681" cy="463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53E1249D-5426-459B-8513-F20BB00FB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8351C01B-9042-4F5E-A030-C73DC47DA9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A28EE84D-6A66-4970-92EF-5838DB9D7F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1070" name="Legend1">
              <a:extLst>
                <a:ext uri="{FF2B5EF4-FFF2-40B4-BE49-F238E27FC236}">
                  <a16:creationId xmlns:a16="http://schemas.microsoft.com/office/drawing/2014/main" id="{31BB8EBE-A231-4FC6-85A4-B4DD1BFFC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09A48560-B6C3-4177-A280-8BF2D01AD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2" name="Legend3">
              <a:extLst>
                <a:ext uri="{FF2B5EF4-FFF2-40B4-BE49-F238E27FC236}">
                  <a16:creationId xmlns:a16="http://schemas.microsoft.com/office/drawing/2014/main" id="{ACB142E1-5942-40F4-A79C-886165AD3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</p:grpSp>
      <p:grpSp>
        <p:nvGrpSpPr>
          <p:cNvPr id="1040" name="McKSticker" hidden="1">
            <a:extLst>
              <a:ext uri="{FF2B5EF4-FFF2-40B4-BE49-F238E27FC236}">
                <a16:creationId xmlns:a16="http://schemas.microsoft.com/office/drawing/2014/main" id="{5A83C841-BB50-42FA-8465-884A11F34C1A}"/>
              </a:ext>
            </a:extLst>
          </p:cNvPr>
          <p:cNvGrpSpPr>
            <a:grpSpLocks/>
          </p:cNvGrpSpPr>
          <p:nvPr/>
        </p:nvGrpSpPr>
        <p:grpSpPr bwMode="auto">
          <a:xfrm>
            <a:off x="11134653" y="275357"/>
            <a:ext cx="752829" cy="156360"/>
            <a:chOff x="8003434" y="285750"/>
            <a:chExt cx="737341" cy="153245"/>
          </a:xfrm>
        </p:grpSpPr>
        <p:sp>
          <p:nvSpPr>
            <p:cNvPr id="1064" name="StickerRectangle">
              <a:extLst>
                <a:ext uri="{FF2B5EF4-FFF2-40B4-BE49-F238E27FC236}">
                  <a16:creationId xmlns:a16="http://schemas.microsoft.com/office/drawing/2014/main" id="{6BE976E9-2C95-464A-8084-39E6FC559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3434" y="285750"/>
              <a:ext cx="737341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en-US" altLang="en-US" sz="816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5" name="AutoShape 31">
              <a:extLst>
                <a:ext uri="{FF2B5EF4-FFF2-40B4-BE49-F238E27FC236}">
                  <a16:creationId xmlns:a16="http://schemas.microsoft.com/office/drawing/2014/main" id="{B01E729F-2664-479D-868A-4F816AEBFC35}"/>
                </a:ext>
              </a:extLst>
            </p:cNvPr>
            <p:cNvCxnSpPr>
              <a:cxnSpLocks noChangeShapeType="1"/>
              <a:stCxn id="1064" idx="2"/>
              <a:endCxn id="1064" idx="4"/>
            </p:cNvCxnSpPr>
            <p:nvPr/>
          </p:nvCxnSpPr>
          <p:spPr bwMode="auto">
            <a:xfrm>
              <a:off x="8003434" y="285750"/>
              <a:ext cx="0" cy="15324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6" name="AutoShape 32">
              <a:extLst>
                <a:ext uri="{FF2B5EF4-FFF2-40B4-BE49-F238E27FC236}">
                  <a16:creationId xmlns:a16="http://schemas.microsoft.com/office/drawing/2014/main" id="{A95B6727-7725-4CB7-809B-DB4EA3534C1B}"/>
                </a:ext>
              </a:extLst>
            </p:cNvPr>
            <p:cNvCxnSpPr>
              <a:cxnSpLocks noChangeShapeType="1"/>
              <a:stCxn id="1064" idx="4"/>
              <a:endCxn id="1064" idx="6"/>
            </p:cNvCxnSpPr>
            <p:nvPr/>
          </p:nvCxnSpPr>
          <p:spPr bwMode="auto">
            <a:xfrm>
              <a:off x="8003434" y="438995"/>
              <a:ext cx="73734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Moons" hidden="1">
            <a:extLst>
              <a:ext uri="{FF2B5EF4-FFF2-40B4-BE49-F238E27FC236}">
                <a16:creationId xmlns:a16="http://schemas.microsoft.com/office/drawing/2014/main" id="{F277F140-59A7-40E9-BD04-590283796528}"/>
              </a:ext>
            </a:extLst>
          </p:cNvPr>
          <p:cNvGrpSpPr>
            <a:grpSpLocks/>
          </p:cNvGrpSpPr>
          <p:nvPr/>
        </p:nvGrpSpPr>
        <p:grpSpPr bwMode="auto">
          <a:xfrm>
            <a:off x="11040344" y="275357"/>
            <a:ext cx="857057" cy="1333051"/>
            <a:chOff x="6655594" y="273840"/>
            <a:chExt cx="840152" cy="1306516"/>
          </a:xfrm>
        </p:grpSpPr>
        <p:grpSp>
          <p:nvGrpSpPr>
            <p:cNvPr id="1044" name="MoonLegend1">
              <a:extLst>
                <a:ext uri="{FF2B5EF4-FFF2-40B4-BE49-F238E27FC236}">
                  <a16:creationId xmlns:a16="http://schemas.microsoft.com/office/drawing/2014/main" id="{E6CCBFF3-C08B-4D57-B73C-1839FE02D11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>
                <a:extLst>
                  <a:ext uri="{FF2B5EF4-FFF2-40B4-BE49-F238E27FC236}">
                    <a16:creationId xmlns:a16="http://schemas.microsoft.com/office/drawing/2014/main" id="{585020E3-F9B7-449A-8076-9B4FD5D4484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>
                <a:extLst>
                  <a:ext uri="{FF2B5EF4-FFF2-40B4-BE49-F238E27FC236}">
                    <a16:creationId xmlns:a16="http://schemas.microsoft.com/office/drawing/2014/main" id="{5FDAF459-C946-4AC9-BEC1-452D1E4A5560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5" name="MoonLegend2">
              <a:extLst>
                <a:ext uri="{FF2B5EF4-FFF2-40B4-BE49-F238E27FC236}">
                  <a16:creationId xmlns:a16="http://schemas.microsoft.com/office/drawing/2014/main" id="{FA0360D6-2696-4290-B634-74366B1CDB08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>
                <a:extLst>
                  <a:ext uri="{FF2B5EF4-FFF2-40B4-BE49-F238E27FC236}">
                    <a16:creationId xmlns:a16="http://schemas.microsoft.com/office/drawing/2014/main" id="{8A2A3305-2385-4057-B894-6DADA1409C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>
                <a:extLst>
                  <a:ext uri="{FF2B5EF4-FFF2-40B4-BE49-F238E27FC236}">
                    <a16:creationId xmlns:a16="http://schemas.microsoft.com/office/drawing/2014/main" id="{C5172C4B-9B61-4088-8C29-57D4D3BC1DAC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6" name="MoonLegend4">
              <a:extLst>
                <a:ext uri="{FF2B5EF4-FFF2-40B4-BE49-F238E27FC236}">
                  <a16:creationId xmlns:a16="http://schemas.microsoft.com/office/drawing/2014/main" id="{5B3DAF11-48C4-41C1-8753-CED505E6AF3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>
                <a:extLst>
                  <a:ext uri="{FF2B5EF4-FFF2-40B4-BE49-F238E27FC236}">
                    <a16:creationId xmlns:a16="http://schemas.microsoft.com/office/drawing/2014/main" id="{BF24D8BD-56B0-4EB4-B28C-5E5E9796AC9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>
                <a:extLst>
                  <a:ext uri="{FF2B5EF4-FFF2-40B4-BE49-F238E27FC236}">
                    <a16:creationId xmlns:a16="http://schemas.microsoft.com/office/drawing/2014/main" id="{7BB933CA-0FC2-4FC5-9097-66BB8E223FDD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7" name="MoonLegend5">
              <a:extLst>
                <a:ext uri="{FF2B5EF4-FFF2-40B4-BE49-F238E27FC236}">
                  <a16:creationId xmlns:a16="http://schemas.microsoft.com/office/drawing/2014/main" id="{BB8E65B9-D3F0-40B3-8043-4463AC79C68D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>
                <a:extLst>
                  <a:ext uri="{FF2B5EF4-FFF2-40B4-BE49-F238E27FC236}">
                    <a16:creationId xmlns:a16="http://schemas.microsoft.com/office/drawing/2014/main" id="{7E1A63C3-27A3-4F2B-BCAE-0A6A998D31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>
                <a:extLst>
                  <a:ext uri="{FF2B5EF4-FFF2-40B4-BE49-F238E27FC236}">
                    <a16:creationId xmlns:a16="http://schemas.microsoft.com/office/drawing/2014/main" id="{55782377-B10E-42A3-928A-551FA28B23B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sp>
          <p:nvSpPr>
            <p:cNvPr id="1048" name="Legend1">
              <a:extLst>
                <a:ext uri="{FF2B5EF4-FFF2-40B4-BE49-F238E27FC236}">
                  <a16:creationId xmlns:a16="http://schemas.microsoft.com/office/drawing/2014/main" id="{34067F7D-2FA5-430C-8BFA-B352FD6C2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49" name="Legend2">
              <a:extLst>
                <a:ext uri="{FF2B5EF4-FFF2-40B4-BE49-F238E27FC236}">
                  <a16:creationId xmlns:a16="http://schemas.microsoft.com/office/drawing/2014/main" id="{91263A63-37B2-45DA-8622-CA111EA49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0" name="Legend3">
              <a:extLst>
                <a:ext uri="{FF2B5EF4-FFF2-40B4-BE49-F238E27FC236}">
                  <a16:creationId xmlns:a16="http://schemas.microsoft.com/office/drawing/2014/main" id="{E666264D-3341-4857-91CC-86491F83E9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1" name="Legend4">
              <a:extLst>
                <a:ext uri="{FF2B5EF4-FFF2-40B4-BE49-F238E27FC236}">
                  <a16:creationId xmlns:a16="http://schemas.microsoft.com/office/drawing/2014/main" id="{A89CA3F9-AA0E-46D5-B39D-95AFDA49A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2" name="Legend5">
              <a:extLst>
                <a:ext uri="{FF2B5EF4-FFF2-40B4-BE49-F238E27FC236}">
                  <a16:creationId xmlns:a16="http://schemas.microsoft.com/office/drawing/2014/main" id="{59442534-1210-455A-B53F-30D7F26EB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grpSp>
          <p:nvGrpSpPr>
            <p:cNvPr id="1053" name="MoonLegend3">
              <a:extLst>
                <a:ext uri="{FF2B5EF4-FFF2-40B4-BE49-F238E27FC236}">
                  <a16:creationId xmlns:a16="http://schemas.microsoft.com/office/drawing/2014/main" id="{DFDF1779-7804-43AE-A0DA-9FE4A514D86B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>
                <a:extLst>
                  <a:ext uri="{FF2B5EF4-FFF2-40B4-BE49-F238E27FC236}">
                    <a16:creationId xmlns:a16="http://schemas.microsoft.com/office/drawing/2014/main" id="{CDE09CEB-601D-4AD7-9C8D-C23C69DEB83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>
                <a:extLst>
                  <a:ext uri="{FF2B5EF4-FFF2-40B4-BE49-F238E27FC236}">
                    <a16:creationId xmlns:a16="http://schemas.microsoft.com/office/drawing/2014/main" id="{833C89E0-B0F6-45A7-8150-9FCDC848EF2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>
            <a:extLst>
              <a:ext uri="{FF2B5EF4-FFF2-40B4-BE49-F238E27FC236}">
                <a16:creationId xmlns:a16="http://schemas.microsoft.com/office/drawing/2014/main" id="{C3B8E163-6953-4D40-B73B-4504BD7146FF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043" name="Picture 606" descr="Image result for al futtaim logo">
            <a:extLst>
              <a:ext uri="{FF2B5EF4-FFF2-40B4-BE49-F238E27FC236}">
                <a16:creationId xmlns:a16="http://schemas.microsoft.com/office/drawing/2014/main" id="{E33057FF-F14D-4DDD-89BB-DCD4697AC1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14" y="6634475"/>
            <a:ext cx="719177" cy="1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821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32">
          <a:solidFill>
            <a:schemeClr val="tx1"/>
          </a:solidFill>
          <a:latin typeface="+mn-lt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62436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00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3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254244" y="6587861"/>
            <a:ext cx="1104790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4232773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>
          <p15:clr>
            <a:srgbClr val="F26B43"/>
          </p15:clr>
        </p15:guide>
        <p15:guide id="2" pos="216">
          <p15:clr>
            <a:srgbClr val="F26B43"/>
          </p15:clr>
        </p15:guide>
        <p15:guide id="3" orient="horz" pos="3936">
          <p15:clr>
            <a:srgbClr val="F26B43"/>
          </p15:clr>
        </p15:guide>
        <p15:guide id="4" pos="74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A77B65-AE57-3D4B-3C7B-5E4553074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9B8D49-4B98-4257-0948-C98143ADC0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6C83B6-C52A-FD96-0478-85BC9CD602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A0D8FF-ACEA-4782-8538-AFF9753A01B6}" type="datetimeFigureOut">
              <a:rPr lang="en-US" smtClean="0"/>
              <a:t>10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A5BB0E-3A30-9C7D-DADA-C550AE3A7F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5708D-6041-4F09-9036-A66C88A15E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710DDC-83FA-4DC6-A19C-D78DA28973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07577B-083A-120A-B5FF-9D7D3210AF8B}"/>
              </a:ext>
            </a:extLst>
          </p:cNvPr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714BB6A6-8CD6-D89F-61F7-B3EA60F6A980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11762436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0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606" descr="Image result for al futtaim logo">
            <a:extLst>
              <a:ext uri="{FF2B5EF4-FFF2-40B4-BE49-F238E27FC236}">
                <a16:creationId xmlns:a16="http://schemas.microsoft.com/office/drawing/2014/main" id="{2F1B4913-DBFE-E3CB-27C9-307EA43B6A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AF2BB63-ABDA-7FD4-49F3-0AB463884962}"/>
              </a:ext>
            </a:extLst>
          </p:cNvPr>
          <p:cNvSpPr txBox="1"/>
          <p:nvPr userDrawn="1"/>
        </p:nvSpPr>
        <p:spPr>
          <a:xfrm>
            <a:off x="254244" y="6587861"/>
            <a:ext cx="1104790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404354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3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62436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00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31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254244" y="6587861"/>
            <a:ext cx="1104790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38698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6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>
          <p15:clr>
            <a:srgbClr val="F26B43"/>
          </p15:clr>
        </p15:guide>
        <p15:guide id="2" pos="216">
          <p15:clr>
            <a:srgbClr val="F26B43"/>
          </p15:clr>
        </p15:guide>
        <p15:guide id="3" orient="horz" pos="3936">
          <p15:clr>
            <a:srgbClr val="F26B43"/>
          </p15:clr>
        </p15:guide>
        <p15:guide id="4" pos="74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4051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bg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8.png"/><Relationship Id="rId4" Type="http://schemas.microsoft.com/office/2007/relationships/hdphoto" Target="../media/hdphoto4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4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13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svg"/><Relationship Id="rId3" Type="http://schemas.openxmlformats.org/officeDocument/2006/relationships/image" Target="../media/image57.svg"/><Relationship Id="rId7" Type="http://schemas.openxmlformats.org/officeDocument/2006/relationships/image" Target="../media/image61.svg"/><Relationship Id="rId12" Type="http://schemas.openxmlformats.org/officeDocument/2006/relationships/image" Target="../media/image66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60.png"/><Relationship Id="rId11" Type="http://schemas.openxmlformats.org/officeDocument/2006/relationships/image" Target="../media/image65.svg"/><Relationship Id="rId5" Type="http://schemas.openxmlformats.org/officeDocument/2006/relationships/image" Target="../media/image59.sv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93660-554D-6EBA-00E3-3860F88816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ar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F6062D-1AFF-B010-6B9A-B383036E19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ar-AE"/>
          </a:p>
        </p:txBody>
      </p:sp>
      <p:pic>
        <p:nvPicPr>
          <p:cNvPr id="4" name="Picture 3" descr="image">
            <a:extLst>
              <a:ext uri="{FF2B5EF4-FFF2-40B4-BE49-F238E27FC236}">
                <a16:creationId xmlns:a16="http://schemas.microsoft.com/office/drawing/2014/main" id="{BF3136CC-97E1-A71C-BD82-0558DF293A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5EE5E0-5D44-4D57-062E-86E0F7ED1F2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020" t="77369" r="23173"/>
          <a:stretch/>
        </p:blipFill>
        <p:spPr>
          <a:xfrm>
            <a:off x="8174689" y="0"/>
            <a:ext cx="3889827" cy="67797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7928747-5E64-03C5-4D72-CA666210F6E4}"/>
              </a:ext>
            </a:extLst>
          </p:cNvPr>
          <p:cNvSpPr txBox="1">
            <a:spLocks/>
          </p:cNvSpPr>
          <p:nvPr/>
        </p:nvSpPr>
        <p:spPr bwMode="auto">
          <a:xfrm>
            <a:off x="0" y="2647930"/>
            <a:ext cx="12192000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04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4400" b="1" kern="0" dirty="0">
                <a:solidFill>
                  <a:prstClr val="white"/>
                </a:solidFill>
                <a:latin typeface="Arial (Headings)"/>
              </a:rPr>
              <a:t>           Visit Review and Training Pla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600" b="1" i="1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2 July 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2024 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Meeting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</p:txBody>
      </p:sp>
      <p:pic>
        <p:nvPicPr>
          <p:cNvPr id="7" name="Picture 6" descr="A close-up of a logo&#10;&#10;Description automatically generated">
            <a:extLst>
              <a:ext uri="{FF2B5EF4-FFF2-40B4-BE49-F238E27FC236}">
                <a16:creationId xmlns:a16="http://schemas.microsoft.com/office/drawing/2014/main" id="{9B71982D-1303-F164-2BDE-B76A041FE7E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7" r="6566"/>
          <a:stretch/>
        </p:blipFill>
        <p:spPr>
          <a:xfrm>
            <a:off x="1172096" y="2348021"/>
            <a:ext cx="1609053" cy="18158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6224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88E24FD-F32F-9DCA-E527-1AA3604CA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Observation: </a:t>
            </a:r>
            <a:r>
              <a:rPr lang="en-US" sz="3200" dirty="0">
                <a:latin typeface="Arial Black" panose="020B0A04020102020204" pitchFamily="34" charset="0"/>
              </a:rPr>
              <a:t>Identified Ga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DD1ECA7-C9FD-3900-C2C9-383E1CB65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1757" y="2723473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 descr="A desk with papers on it&#10;&#10;Description automatically generated">
            <a:extLst>
              <a:ext uri="{FF2B5EF4-FFF2-40B4-BE49-F238E27FC236}">
                <a16:creationId xmlns:a16="http://schemas.microsoft.com/office/drawing/2014/main" id="{149A8A8C-E2BB-2E8F-1FEE-32B8DECAECC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7" r="44"/>
          <a:stretch/>
        </p:blipFill>
        <p:spPr>
          <a:xfrm>
            <a:off x="8334376" y="0"/>
            <a:ext cx="3855922" cy="6600320"/>
          </a:xfrm>
          <a:prstGeom prst="rect">
            <a:avLst/>
          </a:prstGeom>
        </p:spPr>
      </p:pic>
      <p:pic>
        <p:nvPicPr>
          <p:cNvPr id="9" name="Picture 8" descr="A computer and a book on a desk&#10;&#10;Description automatically generated">
            <a:extLst>
              <a:ext uri="{FF2B5EF4-FFF2-40B4-BE49-F238E27FC236}">
                <a16:creationId xmlns:a16="http://schemas.microsoft.com/office/drawing/2014/main" id="{3D2EB950-2172-C3B7-B9D1-F1BEDBB8D6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22"/>
          <a:stretch/>
        </p:blipFill>
        <p:spPr>
          <a:xfrm>
            <a:off x="5139803" y="3360930"/>
            <a:ext cx="2538413" cy="3004478"/>
          </a:xfrm>
          <a:prstGeom prst="rect">
            <a:avLst/>
          </a:prstGeom>
        </p:spPr>
      </p:pic>
      <p:pic>
        <p:nvPicPr>
          <p:cNvPr id="11" name="Picture 10" descr="A white box with a qr code on it&#10;&#10;Description automatically generated">
            <a:extLst>
              <a:ext uri="{FF2B5EF4-FFF2-40B4-BE49-F238E27FC236}">
                <a16:creationId xmlns:a16="http://schemas.microsoft.com/office/drawing/2014/main" id="{E1128A96-6BD8-B30A-3638-77898BDD6E7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01" b="16444"/>
          <a:stretch/>
        </p:blipFill>
        <p:spPr>
          <a:xfrm>
            <a:off x="964557" y="922004"/>
            <a:ext cx="2538412" cy="3265213"/>
          </a:xfrm>
          <a:prstGeom prst="rect">
            <a:avLst/>
          </a:prstGeom>
        </p:spPr>
      </p:pic>
      <p:pic>
        <p:nvPicPr>
          <p:cNvPr id="17" name="Picture 16" descr="A clipboard with a qr code on it&#10;&#10;Description automatically generated">
            <a:extLst>
              <a:ext uri="{FF2B5EF4-FFF2-40B4-BE49-F238E27FC236}">
                <a16:creationId xmlns:a16="http://schemas.microsoft.com/office/drawing/2014/main" id="{2203E707-814E-1A19-8178-AC65BF89B08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5" r="6701" b="38845"/>
          <a:stretch/>
        </p:blipFill>
        <p:spPr>
          <a:xfrm>
            <a:off x="4644838" y="1137532"/>
            <a:ext cx="3599117" cy="2159632"/>
          </a:xfrm>
          <a:prstGeom prst="rect">
            <a:avLst/>
          </a:prstGeom>
        </p:spPr>
      </p:pic>
      <p:pic>
        <p:nvPicPr>
          <p:cNvPr id="19" name="Picture 18" descr="A white paper on a white table&#10;&#10;Description automatically generated">
            <a:extLst>
              <a:ext uri="{FF2B5EF4-FFF2-40B4-BE49-F238E27FC236}">
                <a16:creationId xmlns:a16="http://schemas.microsoft.com/office/drawing/2014/main" id="{60D26D84-52D1-C75E-BEB3-F9148B3950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7959" r="467" b="33569"/>
          <a:stretch/>
        </p:blipFill>
        <p:spPr>
          <a:xfrm>
            <a:off x="505427" y="4236351"/>
            <a:ext cx="3304573" cy="22707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842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DD1ECA7-C9FD-3900-C2C9-383E1CB65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1757" y="437206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B27B052-886B-9312-6A18-1C874C943617}"/>
              </a:ext>
            </a:extLst>
          </p:cNvPr>
          <p:cNvSpPr/>
          <p:nvPr/>
        </p:nvSpPr>
        <p:spPr>
          <a:xfrm>
            <a:off x="2734031" y="745733"/>
            <a:ext cx="6900263" cy="420624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rgbClr val="5B9BD5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93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lang="en-US" sz="1400" b="1" dirty="0">
                <a:latin typeface="Daytona" panose="020B0604030500040204" pitchFamily="34" charset="0"/>
                <a:cs typeface="Calibri"/>
              </a:rPr>
              <a:t>HERTZ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aytona" panose="020B0604030500040204" pitchFamily="34" charset="0"/>
                <a:ea typeface="+mn-ea"/>
                <a:cs typeface="Calibri"/>
              </a:rPr>
              <a:t>CUSTOMER FACING EMPLOYE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Daytona" panose="020B060403050004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7CC92FA-3529-FB2D-9948-3F3611CF7122}"/>
              </a:ext>
            </a:extLst>
          </p:cNvPr>
          <p:cNvSpPr txBox="1">
            <a:spLocks/>
          </p:cNvSpPr>
          <p:nvPr/>
        </p:nvSpPr>
        <p:spPr bwMode="auto">
          <a:xfrm>
            <a:off x="164410" y="234962"/>
            <a:ext cx="11724966" cy="31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04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04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04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04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04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Training Recommenda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DF08F88-1DBC-064C-CB65-BEFD944B5584}"/>
              </a:ext>
            </a:extLst>
          </p:cNvPr>
          <p:cNvSpPr/>
          <p:nvPr/>
        </p:nvSpPr>
        <p:spPr>
          <a:xfrm>
            <a:off x="2734028" y="1204453"/>
            <a:ext cx="2250831" cy="646010"/>
          </a:xfrm>
          <a:prstGeom prst="roundRect">
            <a:avLst/>
          </a:prstGeom>
          <a:solidFill>
            <a:srgbClr val="002060"/>
          </a:solidFill>
          <a:ln w="12700" cap="flat" cmpd="sng" algn="ctr">
            <a:solidFill>
              <a:srgbClr val="5B9BD5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93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Daytona" panose="020B0604030500040204" pitchFamily="34" charset="0"/>
                <a:cs typeface="Calibri"/>
              </a:rPr>
              <a:t>FRONT OFFICE</a:t>
            </a:r>
          </a:p>
          <a:p>
            <a:pPr marL="0" marR="0" lvl="0" indent="0" algn="ctr" defTabSz="1193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aytona" panose="020B0604030500040204" pitchFamily="34" charset="0"/>
                <a:ea typeface="+mn-ea"/>
                <a:cs typeface="Calibri"/>
              </a:rPr>
              <a:t>(CSR, </a:t>
            </a:r>
            <a:r>
              <a:rPr lang="en-US" sz="1400" b="1" dirty="0">
                <a:solidFill>
                  <a:schemeClr val="bg1"/>
                </a:solidFill>
                <a:latin typeface="Daytona" panose="020B0604030500040204" pitchFamily="34" charset="0"/>
                <a:cs typeface="Calibri"/>
              </a:rPr>
              <a:t>Sen. CSR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aytona" panose="020B0604030500040204" pitchFamily="34" charset="0"/>
              <a:ea typeface="+mn-ea"/>
              <a:cs typeface="Calibri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2872F5B-DBF0-86CC-1C42-2D378BDC10B2}"/>
              </a:ext>
            </a:extLst>
          </p:cNvPr>
          <p:cNvSpPr/>
          <p:nvPr/>
        </p:nvSpPr>
        <p:spPr>
          <a:xfrm>
            <a:off x="5058741" y="1200369"/>
            <a:ext cx="2250832" cy="646010"/>
          </a:xfrm>
          <a:prstGeom prst="roundRect">
            <a:avLst/>
          </a:prstGeom>
          <a:solidFill>
            <a:srgbClr val="002060"/>
          </a:solidFill>
          <a:ln w="12700" cap="flat" cmpd="sng" algn="ctr">
            <a:solidFill>
              <a:srgbClr val="5B9BD5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93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Daytona" panose="020B0604030500040204" pitchFamily="34" charset="0"/>
                <a:cs typeface="Calibri"/>
              </a:rPr>
              <a:t>BACK OFFICE</a:t>
            </a:r>
          </a:p>
          <a:p>
            <a:pPr marL="0" marR="0" lvl="0" indent="0" algn="ctr" defTabSz="1193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aytona" panose="020B0604030500040204" pitchFamily="34" charset="0"/>
                <a:ea typeface="+mn-ea"/>
                <a:cs typeface="Calibri"/>
              </a:rPr>
              <a:t>(CRE/OPS Exec.</a:t>
            </a:r>
            <a:r>
              <a:rPr lang="en-US" sz="1400" b="1" dirty="0">
                <a:solidFill>
                  <a:schemeClr val="bg1"/>
                </a:solidFill>
                <a:latin typeface="Daytona" panose="020B0604030500040204" pitchFamily="34" charset="0"/>
                <a:cs typeface="Calibri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aytona" panose="020B0604030500040204" pitchFamily="34" charset="0"/>
              <a:ea typeface="+mn-ea"/>
              <a:cs typeface="Calibri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2A62A2-F6B2-CAC2-04EC-06F8D2DC4E47}"/>
              </a:ext>
            </a:extLst>
          </p:cNvPr>
          <p:cNvSpPr/>
          <p:nvPr/>
        </p:nvSpPr>
        <p:spPr>
          <a:xfrm>
            <a:off x="7383460" y="1207593"/>
            <a:ext cx="2250832" cy="646010"/>
          </a:xfrm>
          <a:prstGeom prst="roundRect">
            <a:avLst/>
          </a:prstGeom>
          <a:solidFill>
            <a:srgbClr val="002060"/>
          </a:solidFill>
          <a:ln w="12700" cap="flat" cmpd="sng" algn="ctr">
            <a:solidFill>
              <a:srgbClr val="5B9BD5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93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aytona" panose="020B0604030500040204" pitchFamily="34" charset="0"/>
                <a:ea typeface="+mn-ea"/>
                <a:cs typeface="Calibri"/>
              </a:rPr>
              <a:t>DRIVER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F1CC5E-5F57-627A-980A-DFF90C4A04A9}"/>
              </a:ext>
            </a:extLst>
          </p:cNvPr>
          <p:cNvSpPr/>
          <p:nvPr/>
        </p:nvSpPr>
        <p:spPr>
          <a:xfrm>
            <a:off x="2734030" y="2335991"/>
            <a:ext cx="6900262" cy="29342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USTOMER SERVICE EXCELLENC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69532F0-0850-28ED-D701-F9EB68E7117A}"/>
              </a:ext>
            </a:extLst>
          </p:cNvPr>
          <p:cNvSpPr/>
          <p:nvPr/>
        </p:nvSpPr>
        <p:spPr>
          <a:xfrm>
            <a:off x="2748297" y="2718775"/>
            <a:ext cx="6900263" cy="2899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OMMUNICATING WITH CUSTOMER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7F5D2D5-B538-6C2F-9129-A2B49B3135E8}"/>
              </a:ext>
            </a:extLst>
          </p:cNvPr>
          <p:cNvSpPr/>
          <p:nvPr/>
        </p:nvSpPr>
        <p:spPr>
          <a:xfrm>
            <a:off x="2748294" y="5887925"/>
            <a:ext cx="2250832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BASIC EXCEL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633A11B-BD98-A9EF-FBC4-F0239F32D17B}"/>
              </a:ext>
            </a:extLst>
          </p:cNvPr>
          <p:cNvSpPr/>
          <p:nvPr/>
        </p:nvSpPr>
        <p:spPr>
          <a:xfrm>
            <a:off x="2734025" y="3079781"/>
            <a:ext cx="4487391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HANDLING DIFFICULT CUSTOMER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5F1022C-5BFC-5AD2-7A6B-DB9B997DF796}"/>
              </a:ext>
            </a:extLst>
          </p:cNvPr>
          <p:cNvSpPr/>
          <p:nvPr/>
        </p:nvSpPr>
        <p:spPr>
          <a:xfrm>
            <a:off x="2734025" y="4193003"/>
            <a:ext cx="2250829" cy="420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AR INSPECTION TRAINING 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2C87612-B689-A81D-49E7-F16245F2F965}"/>
              </a:ext>
            </a:extLst>
          </p:cNvPr>
          <p:cNvSpPr/>
          <p:nvPr/>
        </p:nvSpPr>
        <p:spPr>
          <a:xfrm>
            <a:off x="7383462" y="4184399"/>
            <a:ext cx="2250829" cy="420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AR INSPECTION TRAINING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D296AFD-5178-B4F6-815E-E3A90AF31E9A}"/>
              </a:ext>
            </a:extLst>
          </p:cNvPr>
          <p:cNvSpPr/>
          <p:nvPr/>
        </p:nvSpPr>
        <p:spPr>
          <a:xfrm>
            <a:off x="2734025" y="1966596"/>
            <a:ext cx="4575548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BRAND HISTORY + BUSINESSS PROGRESS UPDAT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272B9F0-22D0-B8F5-A189-6028E85C0C47}"/>
              </a:ext>
            </a:extLst>
          </p:cNvPr>
          <p:cNvSpPr/>
          <p:nvPr/>
        </p:nvSpPr>
        <p:spPr>
          <a:xfrm>
            <a:off x="2726891" y="3453336"/>
            <a:ext cx="2250829" cy="29342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QUALIFICATION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DFD0AE3-83C1-3365-F45D-919F3F1CAD2E}"/>
              </a:ext>
            </a:extLst>
          </p:cNvPr>
          <p:cNvSpPr/>
          <p:nvPr/>
        </p:nvSpPr>
        <p:spPr>
          <a:xfrm>
            <a:off x="2734025" y="5099002"/>
            <a:ext cx="2250829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RODUCT REFRESHER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970F88E-DBD7-7097-8128-EA0EA83EC236}"/>
              </a:ext>
            </a:extLst>
          </p:cNvPr>
          <p:cNvSpPr/>
          <p:nvPr/>
        </p:nvSpPr>
        <p:spPr>
          <a:xfrm>
            <a:off x="2735126" y="4705563"/>
            <a:ext cx="4575550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ROCESS &amp; POLICY TRAINING</a:t>
            </a: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C3765135-F03A-028E-E265-5949405F901C}"/>
              </a:ext>
            </a:extLst>
          </p:cNvPr>
          <p:cNvSpPr/>
          <p:nvPr/>
        </p:nvSpPr>
        <p:spPr>
          <a:xfrm>
            <a:off x="2208168" y="1983036"/>
            <a:ext cx="335272" cy="27085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44D262-F740-743E-CB54-6FF1D7BC5681}"/>
              </a:ext>
            </a:extLst>
          </p:cNvPr>
          <p:cNvSpPr txBox="1"/>
          <p:nvPr/>
        </p:nvSpPr>
        <p:spPr>
          <a:xfrm>
            <a:off x="658368" y="1969120"/>
            <a:ext cx="15361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</a:rPr>
              <a:t>Brand Specific</a:t>
            </a:r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084F7208-FE02-1668-DE15-05DE3E0474C7}"/>
              </a:ext>
            </a:extLst>
          </p:cNvPr>
          <p:cNvSpPr/>
          <p:nvPr/>
        </p:nvSpPr>
        <p:spPr>
          <a:xfrm>
            <a:off x="2194561" y="2335990"/>
            <a:ext cx="348879" cy="177093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FFE5F9-9155-160A-0D54-77FE1F664747}"/>
              </a:ext>
            </a:extLst>
          </p:cNvPr>
          <p:cNvSpPr txBox="1"/>
          <p:nvPr/>
        </p:nvSpPr>
        <p:spPr>
          <a:xfrm>
            <a:off x="569171" y="3051916"/>
            <a:ext cx="1780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</a:rPr>
              <a:t>Behavioral Skill</a:t>
            </a: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93B7B233-5E35-0EF0-20A8-A25A5A0716AD}"/>
              </a:ext>
            </a:extLst>
          </p:cNvPr>
          <p:cNvSpPr/>
          <p:nvPr/>
        </p:nvSpPr>
        <p:spPr>
          <a:xfrm>
            <a:off x="2195976" y="4213410"/>
            <a:ext cx="348878" cy="197425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CF6FA7-A81E-6CB9-773D-7D6881D8E4E1}"/>
              </a:ext>
            </a:extLst>
          </p:cNvPr>
          <p:cNvSpPr txBox="1"/>
          <p:nvPr/>
        </p:nvSpPr>
        <p:spPr>
          <a:xfrm>
            <a:off x="536448" y="4962570"/>
            <a:ext cx="17800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</a:rPr>
              <a:t>Technical Skill / Knowledge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96C413A-03C5-90BF-3643-0A39203D99EA}"/>
              </a:ext>
            </a:extLst>
          </p:cNvPr>
          <p:cNvSpPr/>
          <p:nvPr/>
        </p:nvSpPr>
        <p:spPr>
          <a:xfrm>
            <a:off x="9987936" y="2758427"/>
            <a:ext cx="2059232" cy="2584678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Blended Learning approach to inclu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structor Led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nlin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ubject Matter Expert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26368D9-06C5-8FD1-C8A6-BB419B84FCE6}"/>
              </a:ext>
            </a:extLst>
          </p:cNvPr>
          <p:cNvSpPr/>
          <p:nvPr/>
        </p:nvSpPr>
        <p:spPr>
          <a:xfrm>
            <a:off x="2748297" y="5492441"/>
            <a:ext cx="2250829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V LEVEL 1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8DB6AB1-2531-DB5D-E618-D66E4B9EC5EA}"/>
              </a:ext>
            </a:extLst>
          </p:cNvPr>
          <p:cNvSpPr/>
          <p:nvPr/>
        </p:nvSpPr>
        <p:spPr>
          <a:xfrm>
            <a:off x="7383462" y="5492440"/>
            <a:ext cx="2250829" cy="2997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V LEVEL 1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1372FA6-702A-7C75-1CA3-D63E78B6FC56}"/>
              </a:ext>
            </a:extLst>
          </p:cNvPr>
          <p:cNvSpPr/>
          <p:nvPr/>
        </p:nvSpPr>
        <p:spPr>
          <a:xfrm>
            <a:off x="2734025" y="3813501"/>
            <a:ext cx="2250829" cy="29342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NEGOTI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29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8FD4C85-C2AB-FBFC-7557-46D0B9BBBB8A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2" name="Picture 1" descr="image">
              <a:extLst>
                <a:ext uri="{FF2B5EF4-FFF2-40B4-BE49-F238E27FC236}">
                  <a16:creationId xmlns:a16="http://schemas.microsoft.com/office/drawing/2014/main" id="{E5C53B1C-3D06-1F06-37AA-14FDA3AF92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4DEE7B6-C242-63BF-A077-82246FBAF64E}"/>
                </a:ext>
              </a:extLst>
            </p:cNvPr>
            <p:cNvSpPr/>
            <p:nvPr/>
          </p:nvSpPr>
          <p:spPr>
            <a:xfrm>
              <a:off x="0" y="2769833"/>
              <a:ext cx="12192000" cy="4088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A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A99E717-73C5-14BC-B69A-8573F6DB2BC9}"/>
              </a:ext>
            </a:extLst>
          </p:cNvPr>
          <p:cNvSpPr txBox="1">
            <a:spLocks/>
          </p:cNvSpPr>
          <p:nvPr/>
        </p:nvSpPr>
        <p:spPr>
          <a:xfrm>
            <a:off x="335280" y="3982126"/>
            <a:ext cx="1152144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97502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18305B7-1CC2-1CB0-25AC-172064DB7D80}"/>
              </a:ext>
            </a:extLst>
          </p:cNvPr>
          <p:cNvSpPr txBox="1">
            <a:spLocks/>
          </p:cNvSpPr>
          <p:nvPr/>
        </p:nvSpPr>
        <p:spPr>
          <a:xfrm>
            <a:off x="291782" y="201377"/>
            <a:ext cx="11424730" cy="9560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>
                <a:latin typeface="Arial Black" panose="020B0A04020102020204" pitchFamily="34" charset="0"/>
              </a:rPr>
              <a:t>Initiatives 2024/2025 Roadmap</a:t>
            </a:r>
            <a:endParaRPr lang="en-US" sz="3200" b="1" dirty="0">
              <a:latin typeface="Arial Black" panose="020B0A040201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55C8737-B5A2-7627-2E92-9199439B1C71}"/>
              </a:ext>
            </a:extLst>
          </p:cNvPr>
          <p:cNvSpPr txBox="1"/>
          <p:nvPr/>
        </p:nvSpPr>
        <p:spPr>
          <a:xfrm>
            <a:off x="303600" y="1042038"/>
            <a:ext cx="91573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Arial Black" panose="020B0A04020102020204" pitchFamily="34" charset="0"/>
              </a:rPr>
              <a:t>HERTZ High Impact Customer Sales &amp; Service Training | </a:t>
            </a:r>
            <a:r>
              <a:rPr lang="en-US" dirty="0">
                <a:solidFill>
                  <a:srgbClr val="C00000"/>
                </a:solidFill>
                <a:latin typeface="Arial Black" panose="020B0A04020102020204" pitchFamily="34" charset="0"/>
              </a:rPr>
              <a:t>Phase 1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8D52C3F-F4B7-A742-2123-738BD1CE1C2D}"/>
              </a:ext>
            </a:extLst>
          </p:cNvPr>
          <p:cNvSpPr/>
          <p:nvPr/>
        </p:nvSpPr>
        <p:spPr>
          <a:xfrm flipH="1">
            <a:off x="6562604" y="2006284"/>
            <a:ext cx="1055496" cy="771030"/>
          </a:xfrm>
          <a:custGeom>
            <a:avLst/>
            <a:gdLst>
              <a:gd name="connsiteX0" fmla="*/ 1208136 w 1406962"/>
              <a:gd name="connsiteY0" fmla="*/ 0 h 1027772"/>
              <a:gd name="connsiteX1" fmla="*/ 1118744 w 1406962"/>
              <a:gd name="connsiteY1" fmla="*/ 32712 h 1027772"/>
              <a:gd name="connsiteX2" fmla="*/ 89937 w 1406962"/>
              <a:gd name="connsiteY2" fmla="*/ 879756 h 1027772"/>
              <a:gd name="connsiteX3" fmla="*/ 0 w 1406962"/>
              <a:gd name="connsiteY3" fmla="*/ 1027772 h 1027772"/>
              <a:gd name="connsiteX4" fmla="*/ 817569 w 1406962"/>
              <a:gd name="connsiteY4" fmla="*/ 1027772 h 1027772"/>
              <a:gd name="connsiteX5" fmla="*/ 1406962 w 1406962"/>
              <a:gd name="connsiteY5" fmla="*/ 438379 h 1027772"/>
              <a:gd name="connsiteX6" fmla="*/ 1234333 w 1406962"/>
              <a:gd name="connsiteY6" fmla="*/ 21615 h 1027772"/>
              <a:gd name="connsiteX7" fmla="*/ 1208136 w 1406962"/>
              <a:gd name="connsiteY7" fmla="*/ 0 h 10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06962" h="1027772">
                <a:moveTo>
                  <a:pt x="1208136" y="0"/>
                </a:moveTo>
                <a:lnTo>
                  <a:pt x="1118744" y="32712"/>
                </a:lnTo>
                <a:cubicBezTo>
                  <a:pt x="699109" y="210170"/>
                  <a:pt x="342069" y="506621"/>
                  <a:pt x="89937" y="879756"/>
                </a:cubicBezTo>
                <a:lnTo>
                  <a:pt x="0" y="1027772"/>
                </a:lnTo>
                <a:lnTo>
                  <a:pt x="817569" y="1027772"/>
                </a:lnTo>
                <a:cubicBezTo>
                  <a:pt x="1143082" y="1027772"/>
                  <a:pt x="1406962" y="763892"/>
                  <a:pt x="1406962" y="438379"/>
                </a:cubicBezTo>
                <a:cubicBezTo>
                  <a:pt x="1406962" y="275622"/>
                  <a:pt x="1340992" y="128274"/>
                  <a:pt x="1234333" y="21615"/>
                </a:cubicBezTo>
                <a:lnTo>
                  <a:pt x="120813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44EAB51-A47E-5B85-F9CA-59F92DD61306}"/>
              </a:ext>
            </a:extLst>
          </p:cNvPr>
          <p:cNvSpPr/>
          <p:nvPr/>
        </p:nvSpPr>
        <p:spPr>
          <a:xfrm flipH="1">
            <a:off x="4573901" y="2006287"/>
            <a:ext cx="1055496" cy="771029"/>
          </a:xfrm>
          <a:custGeom>
            <a:avLst/>
            <a:gdLst>
              <a:gd name="connsiteX0" fmla="*/ 198826 w 1406962"/>
              <a:gd name="connsiteY0" fmla="*/ 0 h 1027771"/>
              <a:gd name="connsiteX1" fmla="*/ 172629 w 1406962"/>
              <a:gd name="connsiteY1" fmla="*/ 21614 h 1027771"/>
              <a:gd name="connsiteX2" fmla="*/ 0 w 1406962"/>
              <a:gd name="connsiteY2" fmla="*/ 438378 h 1027771"/>
              <a:gd name="connsiteX3" fmla="*/ 589393 w 1406962"/>
              <a:gd name="connsiteY3" fmla="*/ 1027771 h 1027771"/>
              <a:gd name="connsiteX4" fmla="*/ 1406962 w 1406962"/>
              <a:gd name="connsiteY4" fmla="*/ 1027771 h 1027771"/>
              <a:gd name="connsiteX5" fmla="*/ 1317024 w 1406962"/>
              <a:gd name="connsiteY5" fmla="*/ 879755 h 1027771"/>
              <a:gd name="connsiteX6" fmla="*/ 288217 w 1406962"/>
              <a:gd name="connsiteY6" fmla="*/ 32711 h 1027771"/>
              <a:gd name="connsiteX7" fmla="*/ 198826 w 1406962"/>
              <a:gd name="connsiteY7" fmla="*/ 0 h 10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06962" h="1027771">
                <a:moveTo>
                  <a:pt x="198826" y="0"/>
                </a:moveTo>
                <a:lnTo>
                  <a:pt x="172629" y="21614"/>
                </a:lnTo>
                <a:cubicBezTo>
                  <a:pt x="65970" y="128273"/>
                  <a:pt x="0" y="275621"/>
                  <a:pt x="0" y="438378"/>
                </a:cubicBezTo>
                <a:cubicBezTo>
                  <a:pt x="0" y="763891"/>
                  <a:pt x="263880" y="1027771"/>
                  <a:pt x="589393" y="1027771"/>
                </a:cubicBezTo>
                <a:lnTo>
                  <a:pt x="1406962" y="1027771"/>
                </a:lnTo>
                <a:lnTo>
                  <a:pt x="1317024" y="879755"/>
                </a:lnTo>
                <a:cubicBezTo>
                  <a:pt x="1064893" y="506620"/>
                  <a:pt x="707852" y="210169"/>
                  <a:pt x="288217" y="32711"/>
                </a:cubicBezTo>
                <a:lnTo>
                  <a:pt x="19882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7EF170AA-D6ED-F48B-8CFA-921FF075B94B}"/>
              </a:ext>
            </a:extLst>
          </p:cNvPr>
          <p:cNvSpPr/>
          <p:nvPr/>
        </p:nvSpPr>
        <p:spPr>
          <a:xfrm flipH="1">
            <a:off x="2658295" y="1892994"/>
            <a:ext cx="2821945" cy="884320"/>
          </a:xfrm>
          <a:custGeom>
            <a:avLst/>
            <a:gdLst>
              <a:gd name="connsiteX0" fmla="*/ 3172221 w 3761614"/>
              <a:gd name="connsiteY0" fmla="*/ 0 h 1178786"/>
              <a:gd name="connsiteX1" fmla="*/ 390567 w 3761614"/>
              <a:gd name="connsiteY1" fmla="*/ 0 h 1178786"/>
              <a:gd name="connsiteX2" fmla="*/ 61032 w 3761614"/>
              <a:gd name="connsiteY2" fmla="*/ 100659 h 1178786"/>
              <a:gd name="connsiteX3" fmla="*/ 0 w 3761614"/>
              <a:gd name="connsiteY3" fmla="*/ 151015 h 1178786"/>
              <a:gd name="connsiteX4" fmla="*/ 89391 w 3761614"/>
              <a:gd name="connsiteY4" fmla="*/ 183726 h 1178786"/>
              <a:gd name="connsiteX5" fmla="*/ 1118198 w 3761614"/>
              <a:gd name="connsiteY5" fmla="*/ 1030770 h 1178786"/>
              <a:gd name="connsiteX6" fmla="*/ 1208136 w 3761614"/>
              <a:gd name="connsiteY6" fmla="*/ 1178786 h 1178786"/>
              <a:gd name="connsiteX7" fmla="*/ 3172221 w 3761614"/>
              <a:gd name="connsiteY7" fmla="*/ 1178786 h 1178786"/>
              <a:gd name="connsiteX8" fmla="*/ 3761614 w 3761614"/>
              <a:gd name="connsiteY8" fmla="*/ 589393 h 1178786"/>
              <a:gd name="connsiteX9" fmla="*/ 3172221 w 3761614"/>
              <a:gd name="connsiteY9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61614" h="1178786">
                <a:moveTo>
                  <a:pt x="3172221" y="0"/>
                </a:moveTo>
                <a:lnTo>
                  <a:pt x="390567" y="0"/>
                </a:lnTo>
                <a:cubicBezTo>
                  <a:pt x="268500" y="0"/>
                  <a:pt x="155100" y="37108"/>
                  <a:pt x="61032" y="100659"/>
                </a:cubicBezTo>
                <a:lnTo>
                  <a:pt x="0" y="151015"/>
                </a:lnTo>
                <a:lnTo>
                  <a:pt x="89391" y="183726"/>
                </a:lnTo>
                <a:cubicBezTo>
                  <a:pt x="509026" y="361184"/>
                  <a:pt x="866067" y="657635"/>
                  <a:pt x="1118198" y="1030770"/>
                </a:cubicBezTo>
                <a:lnTo>
                  <a:pt x="1208136" y="1178786"/>
                </a:lnTo>
                <a:lnTo>
                  <a:pt x="3172221" y="1178786"/>
                </a:lnTo>
                <a:cubicBezTo>
                  <a:pt x="3497734" y="1178786"/>
                  <a:pt x="3761614" y="914906"/>
                  <a:pt x="3761614" y="589393"/>
                </a:cubicBezTo>
                <a:cubicBezTo>
                  <a:pt x="3761614" y="263880"/>
                  <a:pt x="3497734" y="0"/>
                  <a:pt x="3172221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  <a:effectLst>
            <a:outerShdw blurRad="304800" sx="102000" sy="102000" algn="ct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4C183F4-4879-30A1-FACF-F35718B54490}"/>
              </a:ext>
            </a:extLst>
          </p:cNvPr>
          <p:cNvSpPr/>
          <p:nvPr/>
        </p:nvSpPr>
        <p:spPr>
          <a:xfrm flipH="1">
            <a:off x="6711763" y="1892994"/>
            <a:ext cx="2821945" cy="884320"/>
          </a:xfrm>
          <a:custGeom>
            <a:avLst/>
            <a:gdLst>
              <a:gd name="connsiteX0" fmla="*/ 3371047 w 3761614"/>
              <a:gd name="connsiteY0" fmla="*/ 0 h 1178786"/>
              <a:gd name="connsiteX1" fmla="*/ 589393 w 3761614"/>
              <a:gd name="connsiteY1" fmla="*/ 0 h 1178786"/>
              <a:gd name="connsiteX2" fmla="*/ 0 w 3761614"/>
              <a:gd name="connsiteY2" fmla="*/ 589393 h 1178786"/>
              <a:gd name="connsiteX3" fmla="*/ 589393 w 3761614"/>
              <a:gd name="connsiteY3" fmla="*/ 1178786 h 1178786"/>
              <a:gd name="connsiteX4" fmla="*/ 2553478 w 3761614"/>
              <a:gd name="connsiteY4" fmla="*/ 1178786 h 1178786"/>
              <a:gd name="connsiteX5" fmla="*/ 2643415 w 3761614"/>
              <a:gd name="connsiteY5" fmla="*/ 1030770 h 1178786"/>
              <a:gd name="connsiteX6" fmla="*/ 3672222 w 3761614"/>
              <a:gd name="connsiteY6" fmla="*/ 183726 h 1178786"/>
              <a:gd name="connsiteX7" fmla="*/ 3761614 w 3761614"/>
              <a:gd name="connsiteY7" fmla="*/ 151014 h 1178786"/>
              <a:gd name="connsiteX8" fmla="*/ 3700582 w 3761614"/>
              <a:gd name="connsiteY8" fmla="*/ 100659 h 1178786"/>
              <a:gd name="connsiteX9" fmla="*/ 3371047 w 3761614"/>
              <a:gd name="connsiteY9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61614" h="1178786">
                <a:moveTo>
                  <a:pt x="3371047" y="0"/>
                </a:moveTo>
                <a:lnTo>
                  <a:pt x="589393" y="0"/>
                </a:lnTo>
                <a:cubicBezTo>
                  <a:pt x="263880" y="0"/>
                  <a:pt x="0" y="263880"/>
                  <a:pt x="0" y="589393"/>
                </a:cubicBezTo>
                <a:cubicBezTo>
                  <a:pt x="0" y="914906"/>
                  <a:pt x="263880" y="1178786"/>
                  <a:pt x="589393" y="1178786"/>
                </a:cubicBezTo>
                <a:lnTo>
                  <a:pt x="2553478" y="1178786"/>
                </a:lnTo>
                <a:lnTo>
                  <a:pt x="2643415" y="1030770"/>
                </a:lnTo>
                <a:cubicBezTo>
                  <a:pt x="2895547" y="657635"/>
                  <a:pt x="3252587" y="361184"/>
                  <a:pt x="3672222" y="183726"/>
                </a:cubicBezTo>
                <a:lnTo>
                  <a:pt x="3761614" y="151014"/>
                </a:lnTo>
                <a:lnTo>
                  <a:pt x="3700582" y="100659"/>
                </a:lnTo>
                <a:cubicBezTo>
                  <a:pt x="3606515" y="37108"/>
                  <a:pt x="3493115" y="0"/>
                  <a:pt x="3371047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  <a:effectLst>
            <a:outerShdw blurRad="304800" sx="102000" sy="102000" algn="ct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006FCD-737D-6867-C665-C855EA49EA02}"/>
              </a:ext>
            </a:extLst>
          </p:cNvPr>
          <p:cNvSpPr txBox="1"/>
          <p:nvPr/>
        </p:nvSpPr>
        <p:spPr>
          <a:xfrm>
            <a:off x="6652660" y="2174411"/>
            <a:ext cx="527359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 spc="6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ill Sans MT" panose="020B0502020104020203" pitchFamily="34" charset="0"/>
              </a:defRPr>
            </a:lvl1pPr>
          </a:lstStyle>
          <a:p>
            <a:r>
              <a:rPr lang="en-US" sz="3001" spc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B3317D9-CEF9-01E5-661F-1A61EF8CAB6A}"/>
              </a:ext>
            </a:extLst>
          </p:cNvPr>
          <p:cNvSpPr txBox="1"/>
          <p:nvPr/>
        </p:nvSpPr>
        <p:spPr>
          <a:xfrm>
            <a:off x="4968594" y="2174411"/>
            <a:ext cx="527359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 spc="6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ill Sans MT" panose="020B0502020104020203" pitchFamily="34" charset="0"/>
              </a:defRPr>
            </a:lvl1pPr>
          </a:lstStyle>
          <a:p>
            <a:r>
              <a:rPr lang="en-US" sz="3001" spc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CBFADB6-2C86-DBD1-038A-0856180309BC}"/>
              </a:ext>
            </a:extLst>
          </p:cNvPr>
          <p:cNvSpPr txBox="1"/>
          <p:nvPr/>
        </p:nvSpPr>
        <p:spPr>
          <a:xfrm>
            <a:off x="3170430" y="2229237"/>
            <a:ext cx="15929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This is a sample text. Insert your desired text here. This is a sample text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F4DACE7-23F7-9EAB-56D8-AA43649EDBB6}"/>
              </a:ext>
            </a:extLst>
          </p:cNvPr>
          <p:cNvSpPr txBox="1"/>
          <p:nvPr/>
        </p:nvSpPr>
        <p:spPr>
          <a:xfrm>
            <a:off x="3170430" y="1933183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282F374F-700D-9D58-29D2-D1A72E8F8A21}"/>
              </a:ext>
            </a:extLst>
          </p:cNvPr>
          <p:cNvSpPr/>
          <p:nvPr/>
        </p:nvSpPr>
        <p:spPr>
          <a:xfrm flipH="1">
            <a:off x="4341780" y="3204738"/>
            <a:ext cx="610525" cy="884320"/>
          </a:xfrm>
          <a:custGeom>
            <a:avLst/>
            <a:gdLst>
              <a:gd name="connsiteX0" fmla="*/ 735912 w 813822"/>
              <a:gd name="connsiteY0" fmla="*/ 0 h 1178786"/>
              <a:gd name="connsiteX1" fmla="*/ 589393 w 813822"/>
              <a:gd name="connsiteY1" fmla="*/ 0 h 1178786"/>
              <a:gd name="connsiteX2" fmla="*/ 0 w 813822"/>
              <a:gd name="connsiteY2" fmla="*/ 589393 h 1178786"/>
              <a:gd name="connsiteX3" fmla="*/ 589393 w 813822"/>
              <a:gd name="connsiteY3" fmla="*/ 1178786 h 1178786"/>
              <a:gd name="connsiteX4" fmla="*/ 735912 w 813822"/>
              <a:gd name="connsiteY4" fmla="*/ 1178786 h 1178786"/>
              <a:gd name="connsiteX5" fmla="*/ 766315 w 813822"/>
              <a:gd name="connsiteY5" fmla="*/ 1060567 h 1178786"/>
              <a:gd name="connsiteX6" fmla="*/ 813822 w 813822"/>
              <a:gd name="connsiteY6" fmla="*/ 589393 h 1178786"/>
              <a:gd name="connsiteX7" fmla="*/ 766315 w 813822"/>
              <a:gd name="connsiteY7" fmla="*/ 118219 h 1178786"/>
              <a:gd name="connsiteX8" fmla="*/ 735912 w 813822"/>
              <a:gd name="connsiteY8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822" h="1178786">
                <a:moveTo>
                  <a:pt x="735912" y="0"/>
                </a:moveTo>
                <a:lnTo>
                  <a:pt x="589393" y="0"/>
                </a:lnTo>
                <a:cubicBezTo>
                  <a:pt x="263880" y="0"/>
                  <a:pt x="0" y="263880"/>
                  <a:pt x="0" y="589393"/>
                </a:cubicBezTo>
                <a:cubicBezTo>
                  <a:pt x="0" y="914906"/>
                  <a:pt x="263880" y="1178786"/>
                  <a:pt x="589393" y="1178786"/>
                </a:cubicBezTo>
                <a:lnTo>
                  <a:pt x="735912" y="1178786"/>
                </a:lnTo>
                <a:lnTo>
                  <a:pt x="766315" y="1060567"/>
                </a:lnTo>
                <a:cubicBezTo>
                  <a:pt x="797464" y="908374"/>
                  <a:pt x="813822" y="750793"/>
                  <a:pt x="813822" y="589393"/>
                </a:cubicBezTo>
                <a:cubicBezTo>
                  <a:pt x="813822" y="427992"/>
                  <a:pt x="797464" y="270412"/>
                  <a:pt x="766315" y="118219"/>
                </a:cubicBezTo>
                <a:lnTo>
                  <a:pt x="73591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E3A0E666-1F8A-F501-5F23-71AE6FA254BF}"/>
              </a:ext>
            </a:extLst>
          </p:cNvPr>
          <p:cNvSpPr/>
          <p:nvPr/>
        </p:nvSpPr>
        <p:spPr>
          <a:xfrm flipH="1">
            <a:off x="1981200" y="3204738"/>
            <a:ext cx="2419026" cy="884320"/>
          </a:xfrm>
          <a:custGeom>
            <a:avLst/>
            <a:gdLst>
              <a:gd name="connsiteX0" fmla="*/ 2635135 w 3224528"/>
              <a:gd name="connsiteY0" fmla="*/ 0 h 1178786"/>
              <a:gd name="connsiteX1" fmla="*/ 0 w 3224528"/>
              <a:gd name="connsiteY1" fmla="*/ 0 h 1178786"/>
              <a:gd name="connsiteX2" fmla="*/ 30403 w 3224528"/>
              <a:gd name="connsiteY2" fmla="*/ 118219 h 1178786"/>
              <a:gd name="connsiteX3" fmla="*/ 77910 w 3224528"/>
              <a:gd name="connsiteY3" fmla="*/ 589393 h 1178786"/>
              <a:gd name="connsiteX4" fmla="*/ 30403 w 3224528"/>
              <a:gd name="connsiteY4" fmla="*/ 1060567 h 1178786"/>
              <a:gd name="connsiteX5" fmla="*/ 0 w 3224528"/>
              <a:gd name="connsiteY5" fmla="*/ 1178786 h 1178786"/>
              <a:gd name="connsiteX6" fmla="*/ 2635135 w 3224528"/>
              <a:gd name="connsiteY6" fmla="*/ 1178786 h 1178786"/>
              <a:gd name="connsiteX7" fmla="*/ 3224528 w 3224528"/>
              <a:gd name="connsiteY7" fmla="*/ 589393 h 1178786"/>
              <a:gd name="connsiteX8" fmla="*/ 2635135 w 3224528"/>
              <a:gd name="connsiteY8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24528" h="1178786">
                <a:moveTo>
                  <a:pt x="2635135" y="0"/>
                </a:moveTo>
                <a:lnTo>
                  <a:pt x="0" y="0"/>
                </a:lnTo>
                <a:lnTo>
                  <a:pt x="30403" y="118219"/>
                </a:lnTo>
                <a:cubicBezTo>
                  <a:pt x="61552" y="270412"/>
                  <a:pt x="77910" y="427992"/>
                  <a:pt x="77910" y="589393"/>
                </a:cubicBezTo>
                <a:cubicBezTo>
                  <a:pt x="77910" y="750793"/>
                  <a:pt x="61552" y="908374"/>
                  <a:pt x="30403" y="1060567"/>
                </a:cubicBezTo>
                <a:lnTo>
                  <a:pt x="0" y="1178786"/>
                </a:lnTo>
                <a:lnTo>
                  <a:pt x="2635135" y="1178786"/>
                </a:lnTo>
                <a:cubicBezTo>
                  <a:pt x="2960648" y="1178786"/>
                  <a:pt x="3224528" y="914906"/>
                  <a:pt x="3224528" y="589393"/>
                </a:cubicBezTo>
                <a:cubicBezTo>
                  <a:pt x="3224528" y="263880"/>
                  <a:pt x="2960648" y="0"/>
                  <a:pt x="2635135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  <a:effectLst>
            <a:outerShdw blurRad="304800" sx="102000" sy="102000" algn="ct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AB7AE86-76EC-CC56-201C-924D2DD3BDBA}"/>
              </a:ext>
            </a:extLst>
          </p:cNvPr>
          <p:cNvSpPr txBox="1"/>
          <p:nvPr/>
        </p:nvSpPr>
        <p:spPr>
          <a:xfrm>
            <a:off x="4360912" y="3381371"/>
            <a:ext cx="527359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 spc="6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ill Sans MT" panose="020B0502020104020203" pitchFamily="34" charset="0"/>
              </a:defRPr>
            </a:lvl1pPr>
          </a:lstStyle>
          <a:p>
            <a:r>
              <a:rPr lang="en-US" sz="3001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3001" spc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3A42698-F4D7-904D-3C04-0674B70A78C7}"/>
              </a:ext>
            </a:extLst>
          </p:cNvPr>
          <p:cNvSpPr txBox="1"/>
          <p:nvPr/>
        </p:nvSpPr>
        <p:spPr>
          <a:xfrm>
            <a:off x="2634803" y="3540981"/>
            <a:ext cx="15929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This is a sample text. Insert your desired text here. This is a sample text.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FA937A9-5F7E-D394-D79D-CEEB414791D2}"/>
              </a:ext>
            </a:extLst>
          </p:cNvPr>
          <p:cNvSpPr txBox="1"/>
          <p:nvPr/>
        </p:nvSpPr>
        <p:spPr>
          <a:xfrm>
            <a:off x="2634803" y="3244927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A4543624-7E00-3EA1-CD6F-D78E9B9A9EA1}"/>
              </a:ext>
            </a:extLst>
          </p:cNvPr>
          <p:cNvSpPr/>
          <p:nvPr/>
        </p:nvSpPr>
        <p:spPr>
          <a:xfrm flipH="1">
            <a:off x="7239698" y="3204738"/>
            <a:ext cx="610526" cy="884320"/>
          </a:xfrm>
          <a:custGeom>
            <a:avLst/>
            <a:gdLst>
              <a:gd name="connsiteX0" fmla="*/ 224430 w 813823"/>
              <a:gd name="connsiteY0" fmla="*/ 0 h 1178786"/>
              <a:gd name="connsiteX1" fmla="*/ 77910 w 813823"/>
              <a:gd name="connsiteY1" fmla="*/ 0 h 1178786"/>
              <a:gd name="connsiteX2" fmla="*/ 47507 w 813823"/>
              <a:gd name="connsiteY2" fmla="*/ 118219 h 1178786"/>
              <a:gd name="connsiteX3" fmla="*/ 0 w 813823"/>
              <a:gd name="connsiteY3" fmla="*/ 589393 h 1178786"/>
              <a:gd name="connsiteX4" fmla="*/ 47507 w 813823"/>
              <a:gd name="connsiteY4" fmla="*/ 1060567 h 1178786"/>
              <a:gd name="connsiteX5" fmla="*/ 77910 w 813823"/>
              <a:gd name="connsiteY5" fmla="*/ 1178786 h 1178786"/>
              <a:gd name="connsiteX6" fmla="*/ 224430 w 813823"/>
              <a:gd name="connsiteY6" fmla="*/ 1178786 h 1178786"/>
              <a:gd name="connsiteX7" fmla="*/ 813823 w 813823"/>
              <a:gd name="connsiteY7" fmla="*/ 589393 h 1178786"/>
              <a:gd name="connsiteX8" fmla="*/ 224430 w 813823"/>
              <a:gd name="connsiteY8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3823" h="1178786">
                <a:moveTo>
                  <a:pt x="224430" y="0"/>
                </a:moveTo>
                <a:lnTo>
                  <a:pt x="77910" y="0"/>
                </a:lnTo>
                <a:lnTo>
                  <a:pt x="47507" y="118219"/>
                </a:lnTo>
                <a:cubicBezTo>
                  <a:pt x="16358" y="270412"/>
                  <a:pt x="0" y="427992"/>
                  <a:pt x="0" y="589393"/>
                </a:cubicBezTo>
                <a:cubicBezTo>
                  <a:pt x="0" y="750793"/>
                  <a:pt x="16358" y="908374"/>
                  <a:pt x="47507" y="1060567"/>
                </a:cubicBezTo>
                <a:lnTo>
                  <a:pt x="77910" y="1178786"/>
                </a:lnTo>
                <a:lnTo>
                  <a:pt x="224430" y="1178786"/>
                </a:lnTo>
                <a:cubicBezTo>
                  <a:pt x="549943" y="1178786"/>
                  <a:pt x="813823" y="914906"/>
                  <a:pt x="813823" y="589393"/>
                </a:cubicBezTo>
                <a:cubicBezTo>
                  <a:pt x="813823" y="263880"/>
                  <a:pt x="549943" y="0"/>
                  <a:pt x="22443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EBF4D43E-53AF-7D7E-50F4-E659C90D9C5E}"/>
              </a:ext>
            </a:extLst>
          </p:cNvPr>
          <p:cNvSpPr/>
          <p:nvPr/>
        </p:nvSpPr>
        <p:spPr>
          <a:xfrm flipH="1">
            <a:off x="7791778" y="3204738"/>
            <a:ext cx="2419025" cy="884320"/>
          </a:xfrm>
          <a:custGeom>
            <a:avLst/>
            <a:gdLst>
              <a:gd name="connsiteX0" fmla="*/ 3224527 w 3224527"/>
              <a:gd name="connsiteY0" fmla="*/ 0 h 1178786"/>
              <a:gd name="connsiteX1" fmla="*/ 589393 w 3224527"/>
              <a:gd name="connsiteY1" fmla="*/ 0 h 1178786"/>
              <a:gd name="connsiteX2" fmla="*/ 0 w 3224527"/>
              <a:gd name="connsiteY2" fmla="*/ 589393 h 1178786"/>
              <a:gd name="connsiteX3" fmla="*/ 589393 w 3224527"/>
              <a:gd name="connsiteY3" fmla="*/ 1178786 h 1178786"/>
              <a:gd name="connsiteX4" fmla="*/ 3224527 w 3224527"/>
              <a:gd name="connsiteY4" fmla="*/ 1178786 h 1178786"/>
              <a:gd name="connsiteX5" fmla="*/ 3194124 w 3224527"/>
              <a:gd name="connsiteY5" fmla="*/ 1060567 h 1178786"/>
              <a:gd name="connsiteX6" fmla="*/ 3146617 w 3224527"/>
              <a:gd name="connsiteY6" fmla="*/ 589393 h 1178786"/>
              <a:gd name="connsiteX7" fmla="*/ 3194124 w 3224527"/>
              <a:gd name="connsiteY7" fmla="*/ 118219 h 1178786"/>
              <a:gd name="connsiteX8" fmla="*/ 3224527 w 3224527"/>
              <a:gd name="connsiteY8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24527" h="1178786">
                <a:moveTo>
                  <a:pt x="3224527" y="0"/>
                </a:moveTo>
                <a:lnTo>
                  <a:pt x="589393" y="0"/>
                </a:lnTo>
                <a:cubicBezTo>
                  <a:pt x="263880" y="0"/>
                  <a:pt x="0" y="263880"/>
                  <a:pt x="0" y="589393"/>
                </a:cubicBezTo>
                <a:cubicBezTo>
                  <a:pt x="0" y="914906"/>
                  <a:pt x="263880" y="1178786"/>
                  <a:pt x="589393" y="1178786"/>
                </a:cubicBezTo>
                <a:lnTo>
                  <a:pt x="3224527" y="1178786"/>
                </a:lnTo>
                <a:lnTo>
                  <a:pt x="3194124" y="1060567"/>
                </a:lnTo>
                <a:cubicBezTo>
                  <a:pt x="3162975" y="908374"/>
                  <a:pt x="3146617" y="750793"/>
                  <a:pt x="3146617" y="589393"/>
                </a:cubicBezTo>
                <a:cubicBezTo>
                  <a:pt x="3146617" y="427992"/>
                  <a:pt x="3162975" y="270412"/>
                  <a:pt x="3194124" y="118219"/>
                </a:cubicBezTo>
                <a:lnTo>
                  <a:pt x="3224527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  <a:effectLst>
            <a:outerShdw blurRad="304800" sx="102000" sy="102000" algn="ct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122199-BF7D-196E-4306-5324FE9BA2F4}"/>
              </a:ext>
            </a:extLst>
          </p:cNvPr>
          <p:cNvSpPr txBox="1"/>
          <p:nvPr/>
        </p:nvSpPr>
        <p:spPr>
          <a:xfrm>
            <a:off x="7291654" y="3381371"/>
            <a:ext cx="527359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 spc="6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ill Sans MT" panose="020B0502020104020203" pitchFamily="34" charset="0"/>
              </a:defRPr>
            </a:lvl1pPr>
          </a:lstStyle>
          <a:p>
            <a:r>
              <a:rPr lang="en-US" sz="3001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3001" spc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AB8612C-2F66-5BA6-8111-5700DAB54E76}"/>
              </a:ext>
            </a:extLst>
          </p:cNvPr>
          <p:cNvSpPr txBox="1"/>
          <p:nvPr/>
        </p:nvSpPr>
        <p:spPr>
          <a:xfrm>
            <a:off x="7935434" y="3540981"/>
            <a:ext cx="15929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This is a sample text. Insert your desired text here. This is a sample text.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6B5C070-016B-7A0E-583A-152771685071}"/>
              </a:ext>
            </a:extLst>
          </p:cNvPr>
          <p:cNvSpPr txBox="1"/>
          <p:nvPr/>
        </p:nvSpPr>
        <p:spPr>
          <a:xfrm>
            <a:off x="7935434" y="3244927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CD944E88-6143-1C1A-AD79-D7442256C765}"/>
              </a:ext>
            </a:extLst>
          </p:cNvPr>
          <p:cNvSpPr/>
          <p:nvPr/>
        </p:nvSpPr>
        <p:spPr>
          <a:xfrm flipH="1">
            <a:off x="4573901" y="4516482"/>
            <a:ext cx="1055496" cy="771030"/>
          </a:xfrm>
          <a:custGeom>
            <a:avLst/>
            <a:gdLst>
              <a:gd name="connsiteX0" fmla="*/ 1406962 w 1406962"/>
              <a:gd name="connsiteY0" fmla="*/ 0 h 1027772"/>
              <a:gd name="connsiteX1" fmla="*/ 589393 w 1406962"/>
              <a:gd name="connsiteY1" fmla="*/ 0 h 1027772"/>
              <a:gd name="connsiteX2" fmla="*/ 0 w 1406962"/>
              <a:gd name="connsiteY2" fmla="*/ 589393 h 1027772"/>
              <a:gd name="connsiteX3" fmla="*/ 172629 w 1406962"/>
              <a:gd name="connsiteY3" fmla="*/ 1006157 h 1027772"/>
              <a:gd name="connsiteX4" fmla="*/ 198826 w 1406962"/>
              <a:gd name="connsiteY4" fmla="*/ 1027772 h 1027772"/>
              <a:gd name="connsiteX5" fmla="*/ 288217 w 1406962"/>
              <a:gd name="connsiteY5" fmla="*/ 995060 h 1027772"/>
              <a:gd name="connsiteX6" fmla="*/ 1317024 w 1406962"/>
              <a:gd name="connsiteY6" fmla="*/ 148016 h 1027772"/>
              <a:gd name="connsiteX7" fmla="*/ 1406962 w 1406962"/>
              <a:gd name="connsiteY7" fmla="*/ 0 h 10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06962" h="1027772">
                <a:moveTo>
                  <a:pt x="1406962" y="0"/>
                </a:moveTo>
                <a:lnTo>
                  <a:pt x="589393" y="0"/>
                </a:lnTo>
                <a:cubicBezTo>
                  <a:pt x="263880" y="0"/>
                  <a:pt x="0" y="263880"/>
                  <a:pt x="0" y="589393"/>
                </a:cubicBezTo>
                <a:cubicBezTo>
                  <a:pt x="0" y="752150"/>
                  <a:pt x="65970" y="899498"/>
                  <a:pt x="172629" y="1006157"/>
                </a:cubicBezTo>
                <a:lnTo>
                  <a:pt x="198826" y="1027772"/>
                </a:lnTo>
                <a:lnTo>
                  <a:pt x="288217" y="995060"/>
                </a:lnTo>
                <a:cubicBezTo>
                  <a:pt x="707852" y="817602"/>
                  <a:pt x="1064893" y="521152"/>
                  <a:pt x="1317024" y="148016"/>
                </a:cubicBezTo>
                <a:lnTo>
                  <a:pt x="140696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7B68EC64-02D5-36D2-9114-35E74B31D99E}"/>
              </a:ext>
            </a:extLst>
          </p:cNvPr>
          <p:cNvSpPr/>
          <p:nvPr/>
        </p:nvSpPr>
        <p:spPr>
          <a:xfrm flipH="1">
            <a:off x="6562604" y="4516482"/>
            <a:ext cx="1055496" cy="771030"/>
          </a:xfrm>
          <a:custGeom>
            <a:avLst/>
            <a:gdLst>
              <a:gd name="connsiteX0" fmla="*/ 817569 w 1406962"/>
              <a:gd name="connsiteY0" fmla="*/ 0 h 1027772"/>
              <a:gd name="connsiteX1" fmla="*/ 0 w 1406962"/>
              <a:gd name="connsiteY1" fmla="*/ 0 h 1027772"/>
              <a:gd name="connsiteX2" fmla="*/ 89937 w 1406962"/>
              <a:gd name="connsiteY2" fmla="*/ 148016 h 1027772"/>
              <a:gd name="connsiteX3" fmla="*/ 1118744 w 1406962"/>
              <a:gd name="connsiteY3" fmla="*/ 995060 h 1027772"/>
              <a:gd name="connsiteX4" fmla="*/ 1208136 w 1406962"/>
              <a:gd name="connsiteY4" fmla="*/ 1027772 h 1027772"/>
              <a:gd name="connsiteX5" fmla="*/ 1234333 w 1406962"/>
              <a:gd name="connsiteY5" fmla="*/ 1006157 h 1027772"/>
              <a:gd name="connsiteX6" fmla="*/ 1406962 w 1406962"/>
              <a:gd name="connsiteY6" fmla="*/ 589393 h 1027772"/>
              <a:gd name="connsiteX7" fmla="*/ 817569 w 1406962"/>
              <a:gd name="connsiteY7" fmla="*/ 0 h 10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06962" h="1027772">
                <a:moveTo>
                  <a:pt x="817569" y="0"/>
                </a:moveTo>
                <a:lnTo>
                  <a:pt x="0" y="0"/>
                </a:lnTo>
                <a:lnTo>
                  <a:pt x="89937" y="148016"/>
                </a:lnTo>
                <a:cubicBezTo>
                  <a:pt x="342069" y="521152"/>
                  <a:pt x="699109" y="817602"/>
                  <a:pt x="1118744" y="995060"/>
                </a:cubicBezTo>
                <a:lnTo>
                  <a:pt x="1208136" y="1027772"/>
                </a:lnTo>
                <a:lnTo>
                  <a:pt x="1234333" y="1006157"/>
                </a:lnTo>
                <a:cubicBezTo>
                  <a:pt x="1340992" y="899498"/>
                  <a:pt x="1406962" y="752150"/>
                  <a:pt x="1406962" y="589393"/>
                </a:cubicBezTo>
                <a:cubicBezTo>
                  <a:pt x="1406962" y="263880"/>
                  <a:pt x="1143082" y="0"/>
                  <a:pt x="817569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918CB149-8035-CF52-56BB-2CED3D711DE4}"/>
              </a:ext>
            </a:extLst>
          </p:cNvPr>
          <p:cNvSpPr/>
          <p:nvPr/>
        </p:nvSpPr>
        <p:spPr>
          <a:xfrm flipH="1">
            <a:off x="2658295" y="4516482"/>
            <a:ext cx="2821945" cy="884320"/>
          </a:xfrm>
          <a:custGeom>
            <a:avLst/>
            <a:gdLst>
              <a:gd name="connsiteX0" fmla="*/ 3172221 w 3761614"/>
              <a:gd name="connsiteY0" fmla="*/ 0 h 1178786"/>
              <a:gd name="connsiteX1" fmla="*/ 1208136 w 3761614"/>
              <a:gd name="connsiteY1" fmla="*/ 0 h 1178786"/>
              <a:gd name="connsiteX2" fmla="*/ 1118198 w 3761614"/>
              <a:gd name="connsiteY2" fmla="*/ 148016 h 1178786"/>
              <a:gd name="connsiteX3" fmla="*/ 89391 w 3761614"/>
              <a:gd name="connsiteY3" fmla="*/ 995060 h 1178786"/>
              <a:gd name="connsiteX4" fmla="*/ 0 w 3761614"/>
              <a:gd name="connsiteY4" fmla="*/ 1027772 h 1178786"/>
              <a:gd name="connsiteX5" fmla="*/ 61032 w 3761614"/>
              <a:gd name="connsiteY5" fmla="*/ 1078127 h 1178786"/>
              <a:gd name="connsiteX6" fmla="*/ 390567 w 3761614"/>
              <a:gd name="connsiteY6" fmla="*/ 1178786 h 1178786"/>
              <a:gd name="connsiteX7" fmla="*/ 3172221 w 3761614"/>
              <a:gd name="connsiteY7" fmla="*/ 1178786 h 1178786"/>
              <a:gd name="connsiteX8" fmla="*/ 3761614 w 3761614"/>
              <a:gd name="connsiteY8" fmla="*/ 589393 h 1178786"/>
              <a:gd name="connsiteX9" fmla="*/ 3172221 w 3761614"/>
              <a:gd name="connsiteY9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61614" h="1178786">
                <a:moveTo>
                  <a:pt x="3172221" y="0"/>
                </a:moveTo>
                <a:lnTo>
                  <a:pt x="1208136" y="0"/>
                </a:lnTo>
                <a:lnTo>
                  <a:pt x="1118198" y="148016"/>
                </a:lnTo>
                <a:cubicBezTo>
                  <a:pt x="866067" y="521152"/>
                  <a:pt x="509026" y="817602"/>
                  <a:pt x="89391" y="995060"/>
                </a:cubicBezTo>
                <a:lnTo>
                  <a:pt x="0" y="1027772"/>
                </a:lnTo>
                <a:lnTo>
                  <a:pt x="61032" y="1078127"/>
                </a:lnTo>
                <a:cubicBezTo>
                  <a:pt x="155100" y="1141678"/>
                  <a:pt x="268500" y="1178786"/>
                  <a:pt x="390567" y="1178786"/>
                </a:cubicBezTo>
                <a:lnTo>
                  <a:pt x="3172221" y="1178786"/>
                </a:lnTo>
                <a:cubicBezTo>
                  <a:pt x="3497734" y="1178786"/>
                  <a:pt x="3761614" y="914906"/>
                  <a:pt x="3761614" y="589393"/>
                </a:cubicBezTo>
                <a:cubicBezTo>
                  <a:pt x="3761614" y="263880"/>
                  <a:pt x="3497734" y="0"/>
                  <a:pt x="3172221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  <a:effectLst>
            <a:outerShdw blurRad="304800" sx="102000" sy="102000" algn="ct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C3F1794D-DC69-E9F4-EE2F-DE5E26FE26B1}"/>
              </a:ext>
            </a:extLst>
          </p:cNvPr>
          <p:cNvSpPr/>
          <p:nvPr/>
        </p:nvSpPr>
        <p:spPr>
          <a:xfrm flipH="1">
            <a:off x="6711763" y="4516482"/>
            <a:ext cx="2821945" cy="884320"/>
          </a:xfrm>
          <a:custGeom>
            <a:avLst/>
            <a:gdLst>
              <a:gd name="connsiteX0" fmla="*/ 2553478 w 3761614"/>
              <a:gd name="connsiteY0" fmla="*/ 0 h 1178786"/>
              <a:gd name="connsiteX1" fmla="*/ 589393 w 3761614"/>
              <a:gd name="connsiteY1" fmla="*/ 0 h 1178786"/>
              <a:gd name="connsiteX2" fmla="*/ 0 w 3761614"/>
              <a:gd name="connsiteY2" fmla="*/ 589393 h 1178786"/>
              <a:gd name="connsiteX3" fmla="*/ 589393 w 3761614"/>
              <a:gd name="connsiteY3" fmla="*/ 1178786 h 1178786"/>
              <a:gd name="connsiteX4" fmla="*/ 3371047 w 3761614"/>
              <a:gd name="connsiteY4" fmla="*/ 1178786 h 1178786"/>
              <a:gd name="connsiteX5" fmla="*/ 3700582 w 3761614"/>
              <a:gd name="connsiteY5" fmla="*/ 1078127 h 1178786"/>
              <a:gd name="connsiteX6" fmla="*/ 3761614 w 3761614"/>
              <a:gd name="connsiteY6" fmla="*/ 1027772 h 1178786"/>
              <a:gd name="connsiteX7" fmla="*/ 3672222 w 3761614"/>
              <a:gd name="connsiteY7" fmla="*/ 995060 h 1178786"/>
              <a:gd name="connsiteX8" fmla="*/ 2643415 w 3761614"/>
              <a:gd name="connsiteY8" fmla="*/ 148016 h 1178786"/>
              <a:gd name="connsiteX9" fmla="*/ 2553478 w 3761614"/>
              <a:gd name="connsiteY9" fmla="*/ 0 h 117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61614" h="1178786">
                <a:moveTo>
                  <a:pt x="2553478" y="0"/>
                </a:moveTo>
                <a:lnTo>
                  <a:pt x="589393" y="0"/>
                </a:lnTo>
                <a:cubicBezTo>
                  <a:pt x="263880" y="0"/>
                  <a:pt x="0" y="263880"/>
                  <a:pt x="0" y="589393"/>
                </a:cubicBezTo>
                <a:cubicBezTo>
                  <a:pt x="0" y="914906"/>
                  <a:pt x="263880" y="1178786"/>
                  <a:pt x="589393" y="1178786"/>
                </a:cubicBezTo>
                <a:lnTo>
                  <a:pt x="3371047" y="1178786"/>
                </a:lnTo>
                <a:cubicBezTo>
                  <a:pt x="3493115" y="1178786"/>
                  <a:pt x="3606515" y="1141678"/>
                  <a:pt x="3700582" y="1078127"/>
                </a:cubicBezTo>
                <a:lnTo>
                  <a:pt x="3761614" y="1027772"/>
                </a:lnTo>
                <a:lnTo>
                  <a:pt x="3672222" y="995060"/>
                </a:lnTo>
                <a:cubicBezTo>
                  <a:pt x="3252587" y="817602"/>
                  <a:pt x="2895547" y="521152"/>
                  <a:pt x="2643415" y="148016"/>
                </a:cubicBezTo>
                <a:lnTo>
                  <a:pt x="2553478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  <a:effectLst>
            <a:outerShdw blurRad="304800" sx="102000" sy="102000" algn="ct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F336671-5F0E-A716-ADE6-A226BE7B99EE}"/>
              </a:ext>
            </a:extLst>
          </p:cNvPr>
          <p:cNvSpPr txBox="1"/>
          <p:nvPr/>
        </p:nvSpPr>
        <p:spPr>
          <a:xfrm>
            <a:off x="6652660" y="4564412"/>
            <a:ext cx="527359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 spc="6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ill Sans MT" panose="020B0502020104020203" pitchFamily="34" charset="0"/>
              </a:defRPr>
            </a:lvl1pPr>
          </a:lstStyle>
          <a:p>
            <a:r>
              <a:rPr lang="en-US" sz="3001" spc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0B9E9C6-8234-38AA-0FFB-51AB6835333A}"/>
              </a:ext>
            </a:extLst>
          </p:cNvPr>
          <p:cNvSpPr txBox="1"/>
          <p:nvPr/>
        </p:nvSpPr>
        <p:spPr>
          <a:xfrm>
            <a:off x="4968594" y="4564412"/>
            <a:ext cx="527359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 spc="6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ill Sans MT" panose="020B0502020104020203" pitchFamily="34" charset="0"/>
              </a:defRPr>
            </a:lvl1pPr>
          </a:lstStyle>
          <a:p>
            <a:r>
              <a:rPr lang="en-US" sz="3001" spc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B68CF0-9C96-BC6F-8D48-997749955372}"/>
              </a:ext>
            </a:extLst>
          </p:cNvPr>
          <p:cNvSpPr txBox="1"/>
          <p:nvPr/>
        </p:nvSpPr>
        <p:spPr>
          <a:xfrm>
            <a:off x="3249032" y="4852725"/>
            <a:ext cx="15929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This is a sample text. Insert your desired text here. This is a sample text.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D57B4B2-0196-FE23-1111-9479182E702A}"/>
              </a:ext>
            </a:extLst>
          </p:cNvPr>
          <p:cNvSpPr txBox="1"/>
          <p:nvPr/>
        </p:nvSpPr>
        <p:spPr>
          <a:xfrm>
            <a:off x="3249032" y="4556670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60F6735E-C073-CBA3-41A8-6AF0CB3EA35C}"/>
              </a:ext>
            </a:extLst>
          </p:cNvPr>
          <p:cNvSpPr txBox="1"/>
          <p:nvPr/>
        </p:nvSpPr>
        <p:spPr>
          <a:xfrm>
            <a:off x="7533556" y="2229237"/>
            <a:ext cx="15929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This is a sample text. Insert your desired text here. This is a sample text.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5DC8988-B48A-C191-F360-9771B23F7C6C}"/>
              </a:ext>
            </a:extLst>
          </p:cNvPr>
          <p:cNvSpPr txBox="1"/>
          <p:nvPr/>
        </p:nvSpPr>
        <p:spPr>
          <a:xfrm>
            <a:off x="7533556" y="1933183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69994EA-261B-2BAA-9664-42B51F8AADC8}"/>
              </a:ext>
            </a:extLst>
          </p:cNvPr>
          <p:cNvSpPr txBox="1"/>
          <p:nvPr/>
        </p:nvSpPr>
        <p:spPr>
          <a:xfrm>
            <a:off x="7505365" y="4852725"/>
            <a:ext cx="15929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This is a sample text. Insert your desired text here. This is a sample text.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2BD184A-CE32-AF4C-EA65-7CD7B10A6B16}"/>
              </a:ext>
            </a:extLst>
          </p:cNvPr>
          <p:cNvSpPr txBox="1"/>
          <p:nvPr/>
        </p:nvSpPr>
        <p:spPr>
          <a:xfrm>
            <a:off x="7505365" y="4556670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pic>
        <p:nvPicPr>
          <p:cNvPr id="87" name="Graphic 86" descr="Computer">
            <a:extLst>
              <a:ext uri="{FF2B5EF4-FFF2-40B4-BE49-F238E27FC236}">
                <a16:creationId xmlns:a16="http://schemas.microsoft.com/office/drawing/2014/main" id="{5355AC87-3A39-96D7-15D2-B4665E3D501E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4419" y="2149940"/>
            <a:ext cx="370428" cy="370428"/>
          </a:xfrm>
          <a:prstGeom prst="rect">
            <a:avLst/>
          </a:prstGeom>
        </p:spPr>
      </p:pic>
      <p:pic>
        <p:nvPicPr>
          <p:cNvPr id="88" name="Graphic 87" descr="Envelope">
            <a:extLst>
              <a:ext uri="{FF2B5EF4-FFF2-40B4-BE49-F238E27FC236}">
                <a16:creationId xmlns:a16="http://schemas.microsoft.com/office/drawing/2014/main" id="{A27757A1-8BFF-97F5-9B6B-99A9491819A1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00326" y="3461684"/>
            <a:ext cx="370428" cy="370428"/>
          </a:xfrm>
          <a:prstGeom prst="rect">
            <a:avLst/>
          </a:prstGeom>
        </p:spPr>
      </p:pic>
      <p:pic>
        <p:nvPicPr>
          <p:cNvPr id="89" name="Graphic 88" descr="Network">
            <a:extLst>
              <a:ext uri="{FF2B5EF4-FFF2-40B4-BE49-F238E27FC236}">
                <a16:creationId xmlns:a16="http://schemas.microsoft.com/office/drawing/2014/main" id="{904E8A1E-1C92-21B2-4713-63BB318FF7F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74456" y="4773428"/>
            <a:ext cx="370428" cy="370428"/>
          </a:xfrm>
          <a:prstGeom prst="rect">
            <a:avLst/>
          </a:prstGeom>
        </p:spPr>
      </p:pic>
      <p:pic>
        <p:nvPicPr>
          <p:cNvPr id="90" name="Graphic 89" descr="Download from cloud">
            <a:extLst>
              <a:ext uri="{FF2B5EF4-FFF2-40B4-BE49-F238E27FC236}">
                <a16:creationId xmlns:a16="http://schemas.microsoft.com/office/drawing/2014/main" id="{AA3704FC-031B-7FBC-EDDF-8C58C9AD8727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49858" y="3461684"/>
            <a:ext cx="370428" cy="370428"/>
          </a:xfrm>
          <a:prstGeom prst="rect">
            <a:avLst/>
          </a:prstGeom>
        </p:spPr>
      </p:pic>
      <p:pic>
        <p:nvPicPr>
          <p:cNvPr id="91" name="Graphic 90" descr="Call center">
            <a:extLst>
              <a:ext uri="{FF2B5EF4-FFF2-40B4-BE49-F238E27FC236}">
                <a16:creationId xmlns:a16="http://schemas.microsoft.com/office/drawing/2014/main" id="{B38F8F07-790B-0644-CD6F-42036E3BCC11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70682" y="4773428"/>
            <a:ext cx="370428" cy="370428"/>
          </a:xfrm>
          <a:prstGeom prst="rect">
            <a:avLst/>
          </a:prstGeom>
        </p:spPr>
      </p:pic>
      <p:pic>
        <p:nvPicPr>
          <p:cNvPr id="92" name="Graphic 91" descr="Satellite dish">
            <a:extLst>
              <a:ext uri="{FF2B5EF4-FFF2-40B4-BE49-F238E27FC236}">
                <a16:creationId xmlns:a16="http://schemas.microsoft.com/office/drawing/2014/main" id="{5B2C26E5-9C74-01AD-8D25-8BD5DD40C456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765894" y="2149940"/>
            <a:ext cx="370428" cy="370428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03699830-C92D-BF9D-B248-55F21A0DF18F}"/>
              </a:ext>
            </a:extLst>
          </p:cNvPr>
          <p:cNvSpPr txBox="1"/>
          <p:nvPr/>
        </p:nvSpPr>
        <p:spPr>
          <a:xfrm>
            <a:off x="5299543" y="3718683"/>
            <a:ext cx="159291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ceholder Text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A1D07BE8-218D-13CE-5005-E91835AD87F1}"/>
              </a:ext>
            </a:extLst>
          </p:cNvPr>
          <p:cNvGrpSpPr/>
          <p:nvPr/>
        </p:nvGrpSpPr>
        <p:grpSpPr>
          <a:xfrm>
            <a:off x="5832072" y="2792924"/>
            <a:ext cx="656362" cy="937959"/>
            <a:chOff x="-7073900" y="1471612"/>
            <a:chExt cx="3500438" cy="5002214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043324A9-2D67-6B32-B7E1-CD32AEFE2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73900" y="1471612"/>
              <a:ext cx="3500438" cy="3952876"/>
            </a:xfrm>
            <a:custGeom>
              <a:avLst/>
              <a:gdLst>
                <a:gd name="T0" fmla="*/ 6730 w 7743"/>
                <a:gd name="T1" fmla="*/ 3366 h 8660"/>
                <a:gd name="T2" fmla="*/ 6718 w 7743"/>
                <a:gd name="T3" fmla="*/ 3318 h 8660"/>
                <a:gd name="T4" fmla="*/ 6745 w 7743"/>
                <a:gd name="T5" fmla="*/ 2765 h 8660"/>
                <a:gd name="T6" fmla="*/ 4679 w 7743"/>
                <a:gd name="T7" fmla="*/ 145 h 8660"/>
                <a:gd name="T8" fmla="*/ 4205 w 7743"/>
                <a:gd name="T9" fmla="*/ 48 h 8660"/>
                <a:gd name="T10" fmla="*/ 3928 w 7743"/>
                <a:gd name="T11" fmla="*/ 21 h 8660"/>
                <a:gd name="T12" fmla="*/ 276 w 7743"/>
                <a:gd name="T13" fmla="*/ 2502 h 8660"/>
                <a:gd name="T14" fmla="*/ 1676 w 7743"/>
                <a:gd name="T15" fmla="*/ 6818 h 8660"/>
                <a:gd name="T16" fmla="*/ 1622 w 7743"/>
                <a:gd name="T17" fmla="*/ 7723 h 8660"/>
                <a:gd name="T18" fmla="*/ 2720 w 7743"/>
                <a:gd name="T19" fmla="*/ 8159 h 8660"/>
                <a:gd name="T20" fmla="*/ 4285 w 7743"/>
                <a:gd name="T21" fmla="*/ 8439 h 8660"/>
                <a:gd name="T22" fmla="*/ 4360 w 7743"/>
                <a:gd name="T23" fmla="*/ 8453 h 8660"/>
                <a:gd name="T24" fmla="*/ 4409 w 7743"/>
                <a:gd name="T25" fmla="*/ 8463 h 8660"/>
                <a:gd name="T26" fmla="*/ 4477 w 7743"/>
                <a:gd name="T27" fmla="*/ 8477 h 8660"/>
                <a:gd name="T28" fmla="*/ 4530 w 7743"/>
                <a:gd name="T29" fmla="*/ 8488 h 8660"/>
                <a:gd name="T30" fmla="*/ 4593 w 7743"/>
                <a:gd name="T31" fmla="*/ 8501 h 8660"/>
                <a:gd name="T32" fmla="*/ 4705 w 7743"/>
                <a:gd name="T33" fmla="*/ 8526 h 8660"/>
                <a:gd name="T34" fmla="*/ 5084 w 7743"/>
                <a:gd name="T35" fmla="*/ 8619 h 8660"/>
                <a:gd name="T36" fmla="*/ 5121 w 7743"/>
                <a:gd name="T37" fmla="*/ 8630 h 8660"/>
                <a:gd name="T38" fmla="*/ 5151 w 7743"/>
                <a:gd name="T39" fmla="*/ 8639 h 8660"/>
                <a:gd name="T40" fmla="*/ 5181 w 7743"/>
                <a:gd name="T41" fmla="*/ 8649 h 8660"/>
                <a:gd name="T42" fmla="*/ 5209 w 7743"/>
                <a:gd name="T43" fmla="*/ 8660 h 8660"/>
                <a:gd name="T44" fmla="*/ 5163 w 7743"/>
                <a:gd name="T45" fmla="*/ 8066 h 8660"/>
                <a:gd name="T46" fmla="*/ 5156 w 7743"/>
                <a:gd name="T47" fmla="*/ 7934 h 8660"/>
                <a:gd name="T48" fmla="*/ 5150 w 7743"/>
                <a:gd name="T49" fmla="*/ 7716 h 8660"/>
                <a:gd name="T50" fmla="*/ 5150 w 7743"/>
                <a:gd name="T51" fmla="*/ 7571 h 8660"/>
                <a:gd name="T52" fmla="*/ 5152 w 7743"/>
                <a:gd name="T53" fmla="*/ 7507 h 8660"/>
                <a:gd name="T54" fmla="*/ 5153 w 7743"/>
                <a:gd name="T55" fmla="*/ 7489 h 8660"/>
                <a:gd name="T56" fmla="*/ 5155 w 7743"/>
                <a:gd name="T57" fmla="*/ 7457 h 8660"/>
                <a:gd name="T58" fmla="*/ 5158 w 7743"/>
                <a:gd name="T59" fmla="*/ 7414 h 8660"/>
                <a:gd name="T60" fmla="*/ 5160 w 7743"/>
                <a:gd name="T61" fmla="*/ 7391 h 8660"/>
                <a:gd name="T62" fmla="*/ 5163 w 7743"/>
                <a:gd name="T63" fmla="*/ 7369 h 8660"/>
                <a:gd name="T64" fmla="*/ 5168 w 7743"/>
                <a:gd name="T65" fmla="*/ 7329 h 8660"/>
                <a:gd name="T66" fmla="*/ 5176 w 7743"/>
                <a:gd name="T67" fmla="*/ 7293 h 8660"/>
                <a:gd name="T68" fmla="*/ 5181 w 7743"/>
                <a:gd name="T69" fmla="*/ 7271 h 8660"/>
                <a:gd name="T70" fmla="*/ 5192 w 7743"/>
                <a:gd name="T71" fmla="*/ 7241 h 8660"/>
                <a:gd name="T72" fmla="*/ 5201 w 7743"/>
                <a:gd name="T73" fmla="*/ 7225 h 8660"/>
                <a:gd name="T74" fmla="*/ 5209 w 7743"/>
                <a:gd name="T75" fmla="*/ 7216 h 8660"/>
                <a:gd name="T76" fmla="*/ 5609 w 7743"/>
                <a:gd name="T77" fmla="*/ 7120 h 8660"/>
                <a:gd name="T78" fmla="*/ 5678 w 7743"/>
                <a:gd name="T79" fmla="*/ 7118 h 8660"/>
                <a:gd name="T80" fmla="*/ 6801 w 7743"/>
                <a:gd name="T81" fmla="*/ 6768 h 8660"/>
                <a:gd name="T82" fmla="*/ 6943 w 7743"/>
                <a:gd name="T83" fmla="*/ 5793 h 8660"/>
                <a:gd name="T84" fmla="*/ 6852 w 7743"/>
                <a:gd name="T85" fmla="*/ 5518 h 8660"/>
                <a:gd name="T86" fmla="*/ 6855 w 7743"/>
                <a:gd name="T87" fmla="*/ 5517 h 8660"/>
                <a:gd name="T88" fmla="*/ 7087 w 7743"/>
                <a:gd name="T89" fmla="*/ 5291 h 8660"/>
                <a:gd name="T90" fmla="*/ 7083 w 7743"/>
                <a:gd name="T91" fmla="*/ 5278 h 8660"/>
                <a:gd name="T92" fmla="*/ 7075 w 7743"/>
                <a:gd name="T93" fmla="*/ 5251 h 8660"/>
                <a:gd name="T94" fmla="*/ 7052 w 7743"/>
                <a:gd name="T95" fmla="*/ 5195 h 8660"/>
                <a:gd name="T96" fmla="*/ 7042 w 7743"/>
                <a:gd name="T97" fmla="*/ 5174 h 8660"/>
                <a:gd name="T98" fmla="*/ 7031 w 7743"/>
                <a:gd name="T99" fmla="*/ 5152 h 8660"/>
                <a:gd name="T100" fmla="*/ 6933 w 7743"/>
                <a:gd name="T101" fmla="*/ 4965 h 8660"/>
                <a:gd name="T102" fmla="*/ 6919 w 7743"/>
                <a:gd name="T103" fmla="*/ 4932 h 8660"/>
                <a:gd name="T104" fmla="*/ 6914 w 7743"/>
                <a:gd name="T105" fmla="*/ 4915 h 8660"/>
                <a:gd name="T106" fmla="*/ 6912 w 7743"/>
                <a:gd name="T107" fmla="*/ 4904 h 8660"/>
                <a:gd name="T108" fmla="*/ 6943 w 7743"/>
                <a:gd name="T109" fmla="*/ 4877 h 8660"/>
                <a:gd name="T110" fmla="*/ 6992 w 7743"/>
                <a:gd name="T111" fmla="*/ 4881 h 8660"/>
                <a:gd name="T112" fmla="*/ 7332 w 7743"/>
                <a:gd name="T113" fmla="*/ 4118 h 8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743" h="8660">
                  <a:moveTo>
                    <a:pt x="7332" y="4118"/>
                  </a:moveTo>
                  <a:cubicBezTo>
                    <a:pt x="7232" y="4014"/>
                    <a:pt x="6799" y="3570"/>
                    <a:pt x="6730" y="3366"/>
                  </a:cubicBezTo>
                  <a:cubicBezTo>
                    <a:pt x="6728" y="3361"/>
                    <a:pt x="6727" y="3357"/>
                    <a:pt x="6726" y="3354"/>
                  </a:cubicBezTo>
                  <a:cubicBezTo>
                    <a:pt x="6722" y="3340"/>
                    <a:pt x="6719" y="3328"/>
                    <a:pt x="6718" y="3318"/>
                  </a:cubicBezTo>
                  <a:cubicBezTo>
                    <a:pt x="6703" y="3204"/>
                    <a:pt x="6713" y="3110"/>
                    <a:pt x="6724" y="3012"/>
                  </a:cubicBezTo>
                  <a:cubicBezTo>
                    <a:pt x="6733" y="2937"/>
                    <a:pt x="6744" y="2858"/>
                    <a:pt x="6745" y="2765"/>
                  </a:cubicBezTo>
                  <a:cubicBezTo>
                    <a:pt x="6746" y="2706"/>
                    <a:pt x="6743" y="2642"/>
                    <a:pt x="6734" y="2568"/>
                  </a:cubicBezTo>
                  <a:cubicBezTo>
                    <a:pt x="6574" y="1257"/>
                    <a:pt x="5894" y="451"/>
                    <a:pt x="4679" y="145"/>
                  </a:cubicBezTo>
                  <a:cubicBezTo>
                    <a:pt x="4521" y="105"/>
                    <a:pt x="4404" y="74"/>
                    <a:pt x="4227" y="51"/>
                  </a:cubicBezTo>
                  <a:cubicBezTo>
                    <a:pt x="4220" y="50"/>
                    <a:pt x="4213" y="49"/>
                    <a:pt x="4205" y="48"/>
                  </a:cubicBezTo>
                  <a:cubicBezTo>
                    <a:pt x="4158" y="42"/>
                    <a:pt x="4111" y="37"/>
                    <a:pt x="4062" y="32"/>
                  </a:cubicBezTo>
                  <a:cubicBezTo>
                    <a:pt x="4018" y="28"/>
                    <a:pt x="3973" y="24"/>
                    <a:pt x="3928" y="21"/>
                  </a:cubicBezTo>
                  <a:cubicBezTo>
                    <a:pt x="3717" y="5"/>
                    <a:pt x="3494" y="0"/>
                    <a:pt x="3260" y="6"/>
                  </a:cubicBezTo>
                  <a:cubicBezTo>
                    <a:pt x="2159" y="35"/>
                    <a:pt x="537" y="620"/>
                    <a:pt x="276" y="2502"/>
                  </a:cubicBezTo>
                  <a:cubicBezTo>
                    <a:pt x="0" y="4487"/>
                    <a:pt x="921" y="5283"/>
                    <a:pt x="1159" y="5585"/>
                  </a:cubicBezTo>
                  <a:cubicBezTo>
                    <a:pt x="1583" y="6121"/>
                    <a:pt x="1676" y="6136"/>
                    <a:pt x="1676" y="6818"/>
                  </a:cubicBezTo>
                  <a:cubicBezTo>
                    <a:pt x="1676" y="6902"/>
                    <a:pt x="1675" y="6981"/>
                    <a:pt x="1673" y="7056"/>
                  </a:cubicBezTo>
                  <a:cubicBezTo>
                    <a:pt x="1664" y="7348"/>
                    <a:pt x="1641" y="7568"/>
                    <a:pt x="1622" y="7723"/>
                  </a:cubicBezTo>
                  <a:cubicBezTo>
                    <a:pt x="1606" y="7850"/>
                    <a:pt x="1593" y="7933"/>
                    <a:pt x="1593" y="7977"/>
                  </a:cubicBezTo>
                  <a:cubicBezTo>
                    <a:pt x="1593" y="7977"/>
                    <a:pt x="2091" y="8054"/>
                    <a:pt x="2720" y="8159"/>
                  </a:cubicBezTo>
                  <a:cubicBezTo>
                    <a:pt x="2737" y="8162"/>
                    <a:pt x="2754" y="8164"/>
                    <a:pt x="2772" y="8167"/>
                  </a:cubicBezTo>
                  <a:cubicBezTo>
                    <a:pt x="3259" y="8249"/>
                    <a:pt x="3819" y="8347"/>
                    <a:pt x="4285" y="8439"/>
                  </a:cubicBezTo>
                  <a:lnTo>
                    <a:pt x="4288" y="8439"/>
                  </a:lnTo>
                  <a:cubicBezTo>
                    <a:pt x="4312" y="8444"/>
                    <a:pt x="4336" y="8449"/>
                    <a:pt x="4360" y="8453"/>
                  </a:cubicBezTo>
                  <a:cubicBezTo>
                    <a:pt x="4365" y="8454"/>
                    <a:pt x="4371" y="8455"/>
                    <a:pt x="4376" y="8457"/>
                  </a:cubicBezTo>
                  <a:cubicBezTo>
                    <a:pt x="4387" y="8459"/>
                    <a:pt x="4398" y="8461"/>
                    <a:pt x="4409" y="8463"/>
                  </a:cubicBezTo>
                  <a:cubicBezTo>
                    <a:pt x="4424" y="8466"/>
                    <a:pt x="4438" y="8469"/>
                    <a:pt x="4453" y="8472"/>
                  </a:cubicBezTo>
                  <a:cubicBezTo>
                    <a:pt x="4461" y="8474"/>
                    <a:pt x="4469" y="8475"/>
                    <a:pt x="4477" y="8477"/>
                  </a:cubicBezTo>
                  <a:cubicBezTo>
                    <a:pt x="4489" y="8479"/>
                    <a:pt x="4500" y="8482"/>
                    <a:pt x="4512" y="8484"/>
                  </a:cubicBezTo>
                  <a:cubicBezTo>
                    <a:pt x="4518" y="8485"/>
                    <a:pt x="4524" y="8487"/>
                    <a:pt x="4530" y="8488"/>
                  </a:cubicBezTo>
                  <a:cubicBezTo>
                    <a:pt x="4547" y="8491"/>
                    <a:pt x="4563" y="8495"/>
                    <a:pt x="4580" y="8498"/>
                  </a:cubicBezTo>
                  <a:cubicBezTo>
                    <a:pt x="4585" y="8499"/>
                    <a:pt x="4589" y="8500"/>
                    <a:pt x="4593" y="8501"/>
                  </a:cubicBezTo>
                  <a:cubicBezTo>
                    <a:pt x="4631" y="8509"/>
                    <a:pt x="4667" y="8517"/>
                    <a:pt x="4702" y="8525"/>
                  </a:cubicBezTo>
                  <a:lnTo>
                    <a:pt x="4705" y="8526"/>
                  </a:lnTo>
                  <a:cubicBezTo>
                    <a:pt x="4781" y="8542"/>
                    <a:pt x="4850" y="8558"/>
                    <a:pt x="4913" y="8574"/>
                  </a:cubicBezTo>
                  <a:cubicBezTo>
                    <a:pt x="4977" y="8589"/>
                    <a:pt x="5035" y="8604"/>
                    <a:pt x="5084" y="8619"/>
                  </a:cubicBezTo>
                  <a:cubicBezTo>
                    <a:pt x="5085" y="8619"/>
                    <a:pt x="5087" y="8620"/>
                    <a:pt x="5089" y="8620"/>
                  </a:cubicBezTo>
                  <a:cubicBezTo>
                    <a:pt x="5100" y="8623"/>
                    <a:pt x="5111" y="8627"/>
                    <a:pt x="5121" y="8630"/>
                  </a:cubicBezTo>
                  <a:lnTo>
                    <a:pt x="5123" y="8630"/>
                  </a:lnTo>
                  <a:cubicBezTo>
                    <a:pt x="5133" y="8633"/>
                    <a:pt x="5142" y="8636"/>
                    <a:pt x="5151" y="8639"/>
                  </a:cubicBezTo>
                  <a:cubicBezTo>
                    <a:pt x="5153" y="8640"/>
                    <a:pt x="5154" y="8640"/>
                    <a:pt x="5156" y="8641"/>
                  </a:cubicBezTo>
                  <a:cubicBezTo>
                    <a:pt x="5165" y="8644"/>
                    <a:pt x="5173" y="8647"/>
                    <a:pt x="5181" y="8649"/>
                  </a:cubicBezTo>
                  <a:cubicBezTo>
                    <a:pt x="5183" y="8650"/>
                    <a:pt x="5185" y="8651"/>
                    <a:pt x="5186" y="8651"/>
                  </a:cubicBezTo>
                  <a:cubicBezTo>
                    <a:pt x="5194" y="8654"/>
                    <a:pt x="5202" y="8657"/>
                    <a:pt x="5209" y="8660"/>
                  </a:cubicBezTo>
                  <a:cubicBezTo>
                    <a:pt x="5209" y="8660"/>
                    <a:pt x="5202" y="8589"/>
                    <a:pt x="5193" y="8479"/>
                  </a:cubicBezTo>
                  <a:cubicBezTo>
                    <a:pt x="5183" y="8370"/>
                    <a:pt x="5172" y="8222"/>
                    <a:pt x="5163" y="8066"/>
                  </a:cubicBezTo>
                  <a:lnTo>
                    <a:pt x="5163" y="8066"/>
                  </a:lnTo>
                  <a:cubicBezTo>
                    <a:pt x="5160" y="8022"/>
                    <a:pt x="5158" y="7978"/>
                    <a:pt x="5156" y="7934"/>
                  </a:cubicBezTo>
                  <a:cubicBezTo>
                    <a:pt x="5154" y="7872"/>
                    <a:pt x="5152" y="7810"/>
                    <a:pt x="5150" y="7750"/>
                  </a:cubicBezTo>
                  <a:cubicBezTo>
                    <a:pt x="5150" y="7738"/>
                    <a:pt x="5150" y="7727"/>
                    <a:pt x="5150" y="7716"/>
                  </a:cubicBezTo>
                  <a:cubicBezTo>
                    <a:pt x="5149" y="7680"/>
                    <a:pt x="5149" y="7644"/>
                    <a:pt x="5150" y="7610"/>
                  </a:cubicBezTo>
                  <a:lnTo>
                    <a:pt x="5150" y="7571"/>
                  </a:lnTo>
                  <a:cubicBezTo>
                    <a:pt x="5150" y="7558"/>
                    <a:pt x="5151" y="7546"/>
                    <a:pt x="5151" y="7534"/>
                  </a:cubicBezTo>
                  <a:cubicBezTo>
                    <a:pt x="5151" y="7525"/>
                    <a:pt x="5152" y="7516"/>
                    <a:pt x="5152" y="7507"/>
                  </a:cubicBezTo>
                  <a:cubicBezTo>
                    <a:pt x="5152" y="7505"/>
                    <a:pt x="5152" y="7502"/>
                    <a:pt x="5152" y="7500"/>
                  </a:cubicBezTo>
                  <a:cubicBezTo>
                    <a:pt x="5153" y="7496"/>
                    <a:pt x="5153" y="7492"/>
                    <a:pt x="5153" y="7489"/>
                  </a:cubicBezTo>
                  <a:cubicBezTo>
                    <a:pt x="5153" y="7482"/>
                    <a:pt x="5154" y="7474"/>
                    <a:pt x="5154" y="7467"/>
                  </a:cubicBezTo>
                  <a:cubicBezTo>
                    <a:pt x="5154" y="7464"/>
                    <a:pt x="5154" y="7460"/>
                    <a:pt x="5155" y="7457"/>
                  </a:cubicBezTo>
                  <a:cubicBezTo>
                    <a:pt x="5155" y="7448"/>
                    <a:pt x="5156" y="7439"/>
                    <a:pt x="5157" y="7430"/>
                  </a:cubicBezTo>
                  <a:cubicBezTo>
                    <a:pt x="5157" y="7424"/>
                    <a:pt x="5157" y="7419"/>
                    <a:pt x="5158" y="7414"/>
                  </a:cubicBezTo>
                  <a:cubicBezTo>
                    <a:pt x="5158" y="7412"/>
                    <a:pt x="5158" y="7409"/>
                    <a:pt x="5159" y="7407"/>
                  </a:cubicBezTo>
                  <a:cubicBezTo>
                    <a:pt x="5159" y="7401"/>
                    <a:pt x="5160" y="7396"/>
                    <a:pt x="5160" y="7391"/>
                  </a:cubicBezTo>
                  <a:cubicBezTo>
                    <a:pt x="5161" y="7387"/>
                    <a:pt x="5161" y="7383"/>
                    <a:pt x="5161" y="7380"/>
                  </a:cubicBezTo>
                  <a:cubicBezTo>
                    <a:pt x="5162" y="7376"/>
                    <a:pt x="5162" y="7373"/>
                    <a:pt x="5163" y="7369"/>
                  </a:cubicBezTo>
                  <a:cubicBezTo>
                    <a:pt x="5164" y="7360"/>
                    <a:pt x="5165" y="7350"/>
                    <a:pt x="5166" y="7342"/>
                  </a:cubicBezTo>
                  <a:cubicBezTo>
                    <a:pt x="5167" y="7337"/>
                    <a:pt x="5168" y="7333"/>
                    <a:pt x="5168" y="7329"/>
                  </a:cubicBezTo>
                  <a:cubicBezTo>
                    <a:pt x="5170" y="7322"/>
                    <a:pt x="5171" y="7315"/>
                    <a:pt x="5172" y="7309"/>
                  </a:cubicBezTo>
                  <a:cubicBezTo>
                    <a:pt x="5173" y="7303"/>
                    <a:pt x="5174" y="7298"/>
                    <a:pt x="5176" y="7293"/>
                  </a:cubicBezTo>
                  <a:cubicBezTo>
                    <a:pt x="5176" y="7289"/>
                    <a:pt x="5177" y="7286"/>
                    <a:pt x="5178" y="7282"/>
                  </a:cubicBezTo>
                  <a:cubicBezTo>
                    <a:pt x="5179" y="7278"/>
                    <a:pt x="5180" y="7275"/>
                    <a:pt x="5181" y="7271"/>
                  </a:cubicBezTo>
                  <a:cubicBezTo>
                    <a:pt x="5182" y="7268"/>
                    <a:pt x="5183" y="7265"/>
                    <a:pt x="5184" y="7262"/>
                  </a:cubicBezTo>
                  <a:cubicBezTo>
                    <a:pt x="5187" y="7255"/>
                    <a:pt x="5189" y="7248"/>
                    <a:pt x="5192" y="7241"/>
                  </a:cubicBezTo>
                  <a:cubicBezTo>
                    <a:pt x="5194" y="7238"/>
                    <a:pt x="5195" y="7236"/>
                    <a:pt x="5197" y="7233"/>
                  </a:cubicBezTo>
                  <a:cubicBezTo>
                    <a:pt x="5198" y="7230"/>
                    <a:pt x="5200" y="7228"/>
                    <a:pt x="5201" y="7225"/>
                  </a:cubicBezTo>
                  <a:lnTo>
                    <a:pt x="5201" y="7225"/>
                  </a:lnTo>
                  <a:cubicBezTo>
                    <a:pt x="5204" y="7222"/>
                    <a:pt x="5207" y="7218"/>
                    <a:pt x="5209" y="7216"/>
                  </a:cubicBezTo>
                  <a:cubicBezTo>
                    <a:pt x="5314" y="7111"/>
                    <a:pt x="5396" y="7115"/>
                    <a:pt x="5506" y="7119"/>
                  </a:cubicBezTo>
                  <a:cubicBezTo>
                    <a:pt x="5538" y="7120"/>
                    <a:pt x="5572" y="7121"/>
                    <a:pt x="5609" y="7120"/>
                  </a:cubicBezTo>
                  <a:cubicBezTo>
                    <a:pt x="5624" y="7119"/>
                    <a:pt x="5639" y="7119"/>
                    <a:pt x="5654" y="7118"/>
                  </a:cubicBezTo>
                  <a:cubicBezTo>
                    <a:pt x="5662" y="7118"/>
                    <a:pt x="5670" y="7118"/>
                    <a:pt x="5678" y="7118"/>
                  </a:cubicBezTo>
                  <a:cubicBezTo>
                    <a:pt x="5688" y="7117"/>
                    <a:pt x="5698" y="7117"/>
                    <a:pt x="5708" y="7117"/>
                  </a:cubicBezTo>
                  <a:cubicBezTo>
                    <a:pt x="6067" y="7108"/>
                    <a:pt x="6609" y="7103"/>
                    <a:pt x="6801" y="6768"/>
                  </a:cubicBezTo>
                  <a:cubicBezTo>
                    <a:pt x="6993" y="6435"/>
                    <a:pt x="6741" y="6271"/>
                    <a:pt x="6734" y="6060"/>
                  </a:cubicBezTo>
                  <a:cubicBezTo>
                    <a:pt x="6731" y="5955"/>
                    <a:pt x="6943" y="5914"/>
                    <a:pt x="6943" y="5793"/>
                  </a:cubicBezTo>
                  <a:cubicBezTo>
                    <a:pt x="6943" y="5668"/>
                    <a:pt x="6851" y="5518"/>
                    <a:pt x="6851" y="5518"/>
                  </a:cubicBezTo>
                  <a:lnTo>
                    <a:pt x="6852" y="5518"/>
                  </a:lnTo>
                  <a:lnTo>
                    <a:pt x="6853" y="5518"/>
                  </a:lnTo>
                  <a:lnTo>
                    <a:pt x="6855" y="5517"/>
                  </a:lnTo>
                  <a:lnTo>
                    <a:pt x="6857" y="5517"/>
                  </a:lnTo>
                  <a:lnTo>
                    <a:pt x="7087" y="5291"/>
                  </a:lnTo>
                  <a:lnTo>
                    <a:pt x="7086" y="5291"/>
                  </a:lnTo>
                  <a:cubicBezTo>
                    <a:pt x="7085" y="5287"/>
                    <a:pt x="7084" y="5283"/>
                    <a:pt x="7083" y="5278"/>
                  </a:cubicBezTo>
                  <a:cubicBezTo>
                    <a:pt x="7082" y="5273"/>
                    <a:pt x="7080" y="5268"/>
                    <a:pt x="7079" y="5263"/>
                  </a:cubicBezTo>
                  <a:cubicBezTo>
                    <a:pt x="7077" y="5259"/>
                    <a:pt x="7076" y="5255"/>
                    <a:pt x="7075" y="5251"/>
                  </a:cubicBezTo>
                  <a:cubicBezTo>
                    <a:pt x="7073" y="5247"/>
                    <a:pt x="7071" y="5242"/>
                    <a:pt x="7070" y="5237"/>
                  </a:cubicBezTo>
                  <a:cubicBezTo>
                    <a:pt x="7064" y="5223"/>
                    <a:pt x="7058" y="5209"/>
                    <a:pt x="7052" y="5195"/>
                  </a:cubicBezTo>
                  <a:cubicBezTo>
                    <a:pt x="7050" y="5190"/>
                    <a:pt x="7048" y="5185"/>
                    <a:pt x="7045" y="5181"/>
                  </a:cubicBezTo>
                  <a:cubicBezTo>
                    <a:pt x="7044" y="5178"/>
                    <a:pt x="7043" y="5176"/>
                    <a:pt x="7042" y="5174"/>
                  </a:cubicBezTo>
                  <a:cubicBezTo>
                    <a:pt x="7040" y="5169"/>
                    <a:pt x="7038" y="5165"/>
                    <a:pt x="7035" y="5160"/>
                  </a:cubicBezTo>
                  <a:cubicBezTo>
                    <a:pt x="7034" y="5157"/>
                    <a:pt x="7033" y="5154"/>
                    <a:pt x="7031" y="5152"/>
                  </a:cubicBezTo>
                  <a:cubicBezTo>
                    <a:pt x="7029" y="5147"/>
                    <a:pt x="7027" y="5142"/>
                    <a:pt x="7024" y="5137"/>
                  </a:cubicBezTo>
                  <a:cubicBezTo>
                    <a:pt x="6992" y="5074"/>
                    <a:pt x="6956" y="5012"/>
                    <a:pt x="6933" y="4965"/>
                  </a:cubicBezTo>
                  <a:cubicBezTo>
                    <a:pt x="6931" y="4960"/>
                    <a:pt x="6930" y="4956"/>
                    <a:pt x="6928" y="4953"/>
                  </a:cubicBezTo>
                  <a:cubicBezTo>
                    <a:pt x="6925" y="4945"/>
                    <a:pt x="6922" y="4938"/>
                    <a:pt x="6919" y="4932"/>
                  </a:cubicBezTo>
                  <a:cubicBezTo>
                    <a:pt x="6918" y="4928"/>
                    <a:pt x="6916" y="4924"/>
                    <a:pt x="6915" y="4921"/>
                  </a:cubicBezTo>
                  <a:cubicBezTo>
                    <a:pt x="6915" y="4919"/>
                    <a:pt x="6914" y="4917"/>
                    <a:pt x="6914" y="4915"/>
                  </a:cubicBezTo>
                  <a:cubicBezTo>
                    <a:pt x="6913" y="4913"/>
                    <a:pt x="6913" y="4912"/>
                    <a:pt x="6913" y="4910"/>
                  </a:cubicBezTo>
                  <a:cubicBezTo>
                    <a:pt x="6912" y="4908"/>
                    <a:pt x="6912" y="4906"/>
                    <a:pt x="6912" y="4904"/>
                  </a:cubicBezTo>
                  <a:cubicBezTo>
                    <a:pt x="6911" y="4901"/>
                    <a:pt x="6911" y="4899"/>
                    <a:pt x="6911" y="4897"/>
                  </a:cubicBezTo>
                  <a:cubicBezTo>
                    <a:pt x="6911" y="4881"/>
                    <a:pt x="6920" y="4873"/>
                    <a:pt x="6943" y="4877"/>
                  </a:cubicBezTo>
                  <a:cubicBezTo>
                    <a:pt x="6953" y="4878"/>
                    <a:pt x="6965" y="4880"/>
                    <a:pt x="6977" y="4881"/>
                  </a:cubicBezTo>
                  <a:cubicBezTo>
                    <a:pt x="6982" y="4881"/>
                    <a:pt x="6987" y="4881"/>
                    <a:pt x="6992" y="4881"/>
                  </a:cubicBezTo>
                  <a:cubicBezTo>
                    <a:pt x="7148" y="4888"/>
                    <a:pt x="7372" y="4822"/>
                    <a:pt x="7526" y="4727"/>
                  </a:cubicBezTo>
                  <a:cubicBezTo>
                    <a:pt x="7743" y="4604"/>
                    <a:pt x="7576" y="4374"/>
                    <a:pt x="7332" y="4118"/>
                  </a:cubicBezTo>
                </a:path>
              </a:pathLst>
            </a:custGeom>
            <a:solidFill>
              <a:srgbClr val="F6A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FE82169D-C404-ADC6-3013-B6F0B9BBA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92588" y="3886200"/>
              <a:ext cx="323850" cy="120650"/>
            </a:xfrm>
            <a:custGeom>
              <a:avLst/>
              <a:gdLst>
                <a:gd name="T0" fmla="*/ 478 w 716"/>
                <a:gd name="T1" fmla="*/ 223 h 261"/>
                <a:gd name="T2" fmla="*/ 0 w 716"/>
                <a:gd name="T3" fmla="*/ 261 h 261"/>
                <a:gd name="T4" fmla="*/ 710 w 716"/>
                <a:gd name="T5" fmla="*/ 0 h 261"/>
                <a:gd name="T6" fmla="*/ 711 w 716"/>
                <a:gd name="T7" fmla="*/ 0 h 261"/>
                <a:gd name="T8" fmla="*/ 478 w 716"/>
                <a:gd name="T9" fmla="*/ 223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6" h="261">
                  <a:moveTo>
                    <a:pt x="478" y="223"/>
                  </a:moveTo>
                  <a:lnTo>
                    <a:pt x="0" y="261"/>
                  </a:lnTo>
                  <a:cubicBezTo>
                    <a:pt x="0" y="261"/>
                    <a:pt x="312" y="48"/>
                    <a:pt x="710" y="0"/>
                  </a:cubicBezTo>
                  <a:lnTo>
                    <a:pt x="711" y="0"/>
                  </a:lnTo>
                  <a:cubicBezTo>
                    <a:pt x="716" y="22"/>
                    <a:pt x="478" y="228"/>
                    <a:pt x="478" y="223"/>
                  </a:cubicBezTo>
                  <a:close/>
                </a:path>
              </a:pathLst>
            </a:custGeom>
            <a:solidFill>
              <a:srgbClr val="F57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918CB9BF-7477-7221-55F0-31A06193D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26025" y="4625975"/>
              <a:ext cx="966788" cy="798513"/>
            </a:xfrm>
            <a:custGeom>
              <a:avLst/>
              <a:gdLst>
                <a:gd name="T0" fmla="*/ 2138 w 2138"/>
                <a:gd name="T1" fmla="*/ 0 h 1750"/>
                <a:gd name="T2" fmla="*/ 1178 w 2138"/>
                <a:gd name="T3" fmla="*/ 207 h 1750"/>
                <a:gd name="T4" fmla="*/ 1148 w 2138"/>
                <a:gd name="T5" fmla="*/ 208 h 1750"/>
                <a:gd name="T6" fmla="*/ 1124 w 2138"/>
                <a:gd name="T7" fmla="*/ 208 h 1750"/>
                <a:gd name="T8" fmla="*/ 1079 w 2138"/>
                <a:gd name="T9" fmla="*/ 210 h 1750"/>
                <a:gd name="T10" fmla="*/ 679 w 2138"/>
                <a:gd name="T11" fmla="*/ 306 h 1750"/>
                <a:gd name="T12" fmla="*/ 671 w 2138"/>
                <a:gd name="T13" fmla="*/ 315 h 1750"/>
                <a:gd name="T14" fmla="*/ 671 w 2138"/>
                <a:gd name="T15" fmla="*/ 315 h 1750"/>
                <a:gd name="T16" fmla="*/ 667 w 2138"/>
                <a:gd name="T17" fmla="*/ 323 h 1750"/>
                <a:gd name="T18" fmla="*/ 662 w 2138"/>
                <a:gd name="T19" fmla="*/ 331 h 1750"/>
                <a:gd name="T20" fmla="*/ 654 w 2138"/>
                <a:gd name="T21" fmla="*/ 352 h 1750"/>
                <a:gd name="T22" fmla="*/ 651 w 2138"/>
                <a:gd name="T23" fmla="*/ 361 h 1750"/>
                <a:gd name="T24" fmla="*/ 648 w 2138"/>
                <a:gd name="T25" fmla="*/ 372 h 1750"/>
                <a:gd name="T26" fmla="*/ 646 w 2138"/>
                <a:gd name="T27" fmla="*/ 383 h 1750"/>
                <a:gd name="T28" fmla="*/ 642 w 2138"/>
                <a:gd name="T29" fmla="*/ 399 h 1750"/>
                <a:gd name="T30" fmla="*/ 638 w 2138"/>
                <a:gd name="T31" fmla="*/ 419 h 1750"/>
                <a:gd name="T32" fmla="*/ 636 w 2138"/>
                <a:gd name="T33" fmla="*/ 432 h 1750"/>
                <a:gd name="T34" fmla="*/ 633 w 2138"/>
                <a:gd name="T35" fmla="*/ 459 h 1750"/>
                <a:gd name="T36" fmla="*/ 631 w 2138"/>
                <a:gd name="T37" fmla="*/ 470 h 1750"/>
                <a:gd name="T38" fmla="*/ 630 w 2138"/>
                <a:gd name="T39" fmla="*/ 481 h 1750"/>
                <a:gd name="T40" fmla="*/ 629 w 2138"/>
                <a:gd name="T41" fmla="*/ 497 h 1750"/>
                <a:gd name="T42" fmla="*/ 628 w 2138"/>
                <a:gd name="T43" fmla="*/ 504 h 1750"/>
                <a:gd name="T44" fmla="*/ 627 w 2138"/>
                <a:gd name="T45" fmla="*/ 520 h 1750"/>
                <a:gd name="T46" fmla="*/ 625 w 2138"/>
                <a:gd name="T47" fmla="*/ 547 h 1750"/>
                <a:gd name="T48" fmla="*/ 624 w 2138"/>
                <a:gd name="T49" fmla="*/ 557 h 1750"/>
                <a:gd name="T50" fmla="*/ 623 w 2138"/>
                <a:gd name="T51" fmla="*/ 579 h 1750"/>
                <a:gd name="T52" fmla="*/ 622 w 2138"/>
                <a:gd name="T53" fmla="*/ 590 h 1750"/>
                <a:gd name="T54" fmla="*/ 622 w 2138"/>
                <a:gd name="T55" fmla="*/ 597 h 1750"/>
                <a:gd name="T56" fmla="*/ 621 w 2138"/>
                <a:gd name="T57" fmla="*/ 624 h 1750"/>
                <a:gd name="T58" fmla="*/ 620 w 2138"/>
                <a:gd name="T59" fmla="*/ 661 h 1750"/>
                <a:gd name="T60" fmla="*/ 620 w 2138"/>
                <a:gd name="T61" fmla="*/ 700 h 1750"/>
                <a:gd name="T62" fmla="*/ 620 w 2138"/>
                <a:gd name="T63" fmla="*/ 806 h 1750"/>
                <a:gd name="T64" fmla="*/ 620 w 2138"/>
                <a:gd name="T65" fmla="*/ 840 h 1750"/>
                <a:gd name="T66" fmla="*/ 626 w 2138"/>
                <a:gd name="T67" fmla="*/ 1024 h 1750"/>
                <a:gd name="T68" fmla="*/ 633 w 2138"/>
                <a:gd name="T69" fmla="*/ 1156 h 1750"/>
                <a:gd name="T70" fmla="*/ 633 w 2138"/>
                <a:gd name="T71" fmla="*/ 1156 h 1750"/>
                <a:gd name="T72" fmla="*/ 663 w 2138"/>
                <a:gd name="T73" fmla="*/ 1569 h 1750"/>
                <a:gd name="T74" fmla="*/ 679 w 2138"/>
                <a:gd name="T75" fmla="*/ 1750 h 1750"/>
                <a:gd name="T76" fmla="*/ 187 w 2138"/>
                <a:gd name="T77" fmla="*/ 1699 h 1750"/>
                <a:gd name="T78" fmla="*/ 57 w 2138"/>
                <a:gd name="T79" fmla="*/ 197 h 1750"/>
                <a:gd name="T80" fmla="*/ 1002 w 2138"/>
                <a:gd name="T81" fmla="*/ 75 h 1750"/>
                <a:gd name="T82" fmla="*/ 2138 w 2138"/>
                <a:gd name="T83" fmla="*/ 0 h 1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38" h="1750">
                  <a:moveTo>
                    <a:pt x="2138" y="0"/>
                  </a:moveTo>
                  <a:cubicBezTo>
                    <a:pt x="1900" y="185"/>
                    <a:pt x="1466" y="198"/>
                    <a:pt x="1178" y="207"/>
                  </a:cubicBezTo>
                  <a:cubicBezTo>
                    <a:pt x="1168" y="207"/>
                    <a:pt x="1158" y="207"/>
                    <a:pt x="1148" y="208"/>
                  </a:cubicBezTo>
                  <a:cubicBezTo>
                    <a:pt x="1140" y="208"/>
                    <a:pt x="1132" y="208"/>
                    <a:pt x="1124" y="208"/>
                  </a:cubicBezTo>
                  <a:cubicBezTo>
                    <a:pt x="1109" y="209"/>
                    <a:pt x="1094" y="209"/>
                    <a:pt x="1079" y="210"/>
                  </a:cubicBezTo>
                  <a:cubicBezTo>
                    <a:pt x="913" y="217"/>
                    <a:pt x="814" y="171"/>
                    <a:pt x="679" y="306"/>
                  </a:cubicBezTo>
                  <a:cubicBezTo>
                    <a:pt x="677" y="308"/>
                    <a:pt x="674" y="312"/>
                    <a:pt x="671" y="315"/>
                  </a:cubicBezTo>
                  <a:lnTo>
                    <a:pt x="671" y="315"/>
                  </a:lnTo>
                  <a:cubicBezTo>
                    <a:pt x="670" y="318"/>
                    <a:pt x="668" y="320"/>
                    <a:pt x="667" y="323"/>
                  </a:cubicBezTo>
                  <a:cubicBezTo>
                    <a:pt x="665" y="326"/>
                    <a:pt x="664" y="328"/>
                    <a:pt x="662" y="331"/>
                  </a:cubicBezTo>
                  <a:cubicBezTo>
                    <a:pt x="659" y="338"/>
                    <a:pt x="657" y="345"/>
                    <a:pt x="654" y="352"/>
                  </a:cubicBezTo>
                  <a:cubicBezTo>
                    <a:pt x="653" y="355"/>
                    <a:pt x="652" y="358"/>
                    <a:pt x="651" y="361"/>
                  </a:cubicBezTo>
                  <a:cubicBezTo>
                    <a:pt x="650" y="365"/>
                    <a:pt x="649" y="368"/>
                    <a:pt x="648" y="372"/>
                  </a:cubicBezTo>
                  <a:cubicBezTo>
                    <a:pt x="647" y="376"/>
                    <a:pt x="646" y="379"/>
                    <a:pt x="646" y="383"/>
                  </a:cubicBezTo>
                  <a:cubicBezTo>
                    <a:pt x="644" y="388"/>
                    <a:pt x="643" y="393"/>
                    <a:pt x="642" y="399"/>
                  </a:cubicBezTo>
                  <a:cubicBezTo>
                    <a:pt x="641" y="405"/>
                    <a:pt x="640" y="412"/>
                    <a:pt x="638" y="419"/>
                  </a:cubicBezTo>
                  <a:cubicBezTo>
                    <a:pt x="638" y="423"/>
                    <a:pt x="637" y="427"/>
                    <a:pt x="636" y="432"/>
                  </a:cubicBezTo>
                  <a:cubicBezTo>
                    <a:pt x="635" y="440"/>
                    <a:pt x="634" y="450"/>
                    <a:pt x="633" y="459"/>
                  </a:cubicBezTo>
                  <a:cubicBezTo>
                    <a:pt x="632" y="463"/>
                    <a:pt x="632" y="466"/>
                    <a:pt x="631" y="470"/>
                  </a:cubicBezTo>
                  <a:cubicBezTo>
                    <a:pt x="631" y="473"/>
                    <a:pt x="631" y="477"/>
                    <a:pt x="630" y="481"/>
                  </a:cubicBezTo>
                  <a:cubicBezTo>
                    <a:pt x="630" y="486"/>
                    <a:pt x="629" y="491"/>
                    <a:pt x="629" y="497"/>
                  </a:cubicBezTo>
                  <a:cubicBezTo>
                    <a:pt x="628" y="499"/>
                    <a:pt x="628" y="502"/>
                    <a:pt x="628" y="504"/>
                  </a:cubicBezTo>
                  <a:cubicBezTo>
                    <a:pt x="627" y="509"/>
                    <a:pt x="627" y="514"/>
                    <a:pt x="627" y="520"/>
                  </a:cubicBezTo>
                  <a:cubicBezTo>
                    <a:pt x="626" y="529"/>
                    <a:pt x="625" y="538"/>
                    <a:pt x="625" y="547"/>
                  </a:cubicBezTo>
                  <a:cubicBezTo>
                    <a:pt x="624" y="550"/>
                    <a:pt x="624" y="554"/>
                    <a:pt x="624" y="557"/>
                  </a:cubicBezTo>
                  <a:cubicBezTo>
                    <a:pt x="624" y="564"/>
                    <a:pt x="623" y="572"/>
                    <a:pt x="623" y="579"/>
                  </a:cubicBezTo>
                  <a:cubicBezTo>
                    <a:pt x="623" y="582"/>
                    <a:pt x="623" y="586"/>
                    <a:pt x="622" y="590"/>
                  </a:cubicBezTo>
                  <a:cubicBezTo>
                    <a:pt x="622" y="592"/>
                    <a:pt x="622" y="595"/>
                    <a:pt x="622" y="597"/>
                  </a:cubicBezTo>
                  <a:cubicBezTo>
                    <a:pt x="622" y="606"/>
                    <a:pt x="621" y="615"/>
                    <a:pt x="621" y="624"/>
                  </a:cubicBezTo>
                  <a:cubicBezTo>
                    <a:pt x="621" y="636"/>
                    <a:pt x="620" y="648"/>
                    <a:pt x="620" y="661"/>
                  </a:cubicBezTo>
                  <a:lnTo>
                    <a:pt x="620" y="700"/>
                  </a:lnTo>
                  <a:cubicBezTo>
                    <a:pt x="619" y="734"/>
                    <a:pt x="619" y="770"/>
                    <a:pt x="620" y="806"/>
                  </a:cubicBezTo>
                  <a:cubicBezTo>
                    <a:pt x="620" y="817"/>
                    <a:pt x="620" y="828"/>
                    <a:pt x="620" y="840"/>
                  </a:cubicBezTo>
                  <a:cubicBezTo>
                    <a:pt x="622" y="900"/>
                    <a:pt x="624" y="962"/>
                    <a:pt x="626" y="1024"/>
                  </a:cubicBezTo>
                  <a:cubicBezTo>
                    <a:pt x="628" y="1068"/>
                    <a:pt x="630" y="1112"/>
                    <a:pt x="633" y="1156"/>
                  </a:cubicBezTo>
                  <a:lnTo>
                    <a:pt x="633" y="1156"/>
                  </a:lnTo>
                  <a:cubicBezTo>
                    <a:pt x="642" y="1312"/>
                    <a:pt x="653" y="1460"/>
                    <a:pt x="663" y="1569"/>
                  </a:cubicBezTo>
                  <a:cubicBezTo>
                    <a:pt x="672" y="1679"/>
                    <a:pt x="679" y="1750"/>
                    <a:pt x="679" y="1750"/>
                  </a:cubicBezTo>
                  <a:cubicBezTo>
                    <a:pt x="615" y="1725"/>
                    <a:pt x="317" y="1731"/>
                    <a:pt x="187" y="1699"/>
                  </a:cubicBezTo>
                  <a:cubicBezTo>
                    <a:pt x="0" y="987"/>
                    <a:pt x="41" y="252"/>
                    <a:pt x="57" y="197"/>
                  </a:cubicBezTo>
                  <a:cubicBezTo>
                    <a:pt x="102" y="42"/>
                    <a:pt x="713" y="53"/>
                    <a:pt x="1002" y="75"/>
                  </a:cubicBezTo>
                  <a:cubicBezTo>
                    <a:pt x="1275" y="96"/>
                    <a:pt x="1620" y="110"/>
                    <a:pt x="2138" y="0"/>
                  </a:cubicBezTo>
                </a:path>
              </a:pathLst>
            </a:custGeom>
            <a:solidFill>
              <a:srgbClr val="F57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47F7A6A5-DF0F-09E1-FA69-F0DDDA6C2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89538" y="2846387"/>
              <a:ext cx="1155700" cy="512763"/>
            </a:xfrm>
            <a:custGeom>
              <a:avLst/>
              <a:gdLst>
                <a:gd name="T0" fmla="*/ 2559 w 2559"/>
                <a:gd name="T1" fmla="*/ 342 h 1122"/>
                <a:gd name="T2" fmla="*/ 2289 w 2559"/>
                <a:gd name="T3" fmla="*/ 519 h 1122"/>
                <a:gd name="T4" fmla="*/ 1483 w 2559"/>
                <a:gd name="T5" fmla="*/ 969 h 1122"/>
                <a:gd name="T6" fmla="*/ 792 w 2559"/>
                <a:gd name="T7" fmla="*/ 1114 h 1122"/>
                <a:gd name="T8" fmla="*/ 1333 w 2559"/>
                <a:gd name="T9" fmla="*/ 97 h 1122"/>
                <a:gd name="T10" fmla="*/ 1845 w 2559"/>
                <a:gd name="T11" fmla="*/ 65 h 1122"/>
                <a:gd name="T12" fmla="*/ 2557 w 2559"/>
                <a:gd name="T13" fmla="*/ 0 h 1122"/>
                <a:gd name="T14" fmla="*/ 2551 w 2559"/>
                <a:gd name="T15" fmla="*/ 306 h 1122"/>
                <a:gd name="T16" fmla="*/ 2559 w 2559"/>
                <a:gd name="T17" fmla="*/ 34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9" h="1122">
                  <a:moveTo>
                    <a:pt x="2559" y="342"/>
                  </a:moveTo>
                  <a:cubicBezTo>
                    <a:pt x="2559" y="342"/>
                    <a:pt x="2478" y="319"/>
                    <a:pt x="2289" y="519"/>
                  </a:cubicBezTo>
                  <a:cubicBezTo>
                    <a:pt x="2121" y="696"/>
                    <a:pt x="1935" y="969"/>
                    <a:pt x="1483" y="969"/>
                  </a:cubicBezTo>
                  <a:cubicBezTo>
                    <a:pt x="1201" y="969"/>
                    <a:pt x="1052" y="1122"/>
                    <a:pt x="792" y="1114"/>
                  </a:cubicBezTo>
                  <a:cubicBezTo>
                    <a:pt x="0" y="1089"/>
                    <a:pt x="1333" y="97"/>
                    <a:pt x="1333" y="97"/>
                  </a:cubicBezTo>
                  <a:cubicBezTo>
                    <a:pt x="1421" y="38"/>
                    <a:pt x="1622" y="52"/>
                    <a:pt x="1845" y="65"/>
                  </a:cubicBezTo>
                  <a:cubicBezTo>
                    <a:pt x="2103" y="81"/>
                    <a:pt x="2389" y="97"/>
                    <a:pt x="2557" y="0"/>
                  </a:cubicBezTo>
                  <a:cubicBezTo>
                    <a:pt x="2546" y="98"/>
                    <a:pt x="2536" y="192"/>
                    <a:pt x="2551" y="306"/>
                  </a:cubicBezTo>
                  <a:cubicBezTo>
                    <a:pt x="2552" y="316"/>
                    <a:pt x="2555" y="328"/>
                    <a:pt x="2559" y="342"/>
                  </a:cubicBezTo>
                </a:path>
              </a:pathLst>
            </a:custGeom>
            <a:solidFill>
              <a:srgbClr val="F57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71D67481-4C69-9057-5F6A-5CDF0730B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32613" y="1517650"/>
              <a:ext cx="3008313" cy="2800350"/>
            </a:xfrm>
            <a:custGeom>
              <a:avLst/>
              <a:gdLst>
                <a:gd name="T0" fmla="*/ 281 w 6656"/>
                <a:gd name="T1" fmla="*/ 3784 h 6134"/>
                <a:gd name="T2" fmla="*/ 2147 w 6656"/>
                <a:gd name="T3" fmla="*/ 184 h 6134"/>
                <a:gd name="T4" fmla="*/ 3761 w 6656"/>
                <a:gd name="T5" fmla="*/ 59 h 6134"/>
                <a:gd name="T6" fmla="*/ 3928 w 6656"/>
                <a:gd name="T7" fmla="*/ 80 h 6134"/>
                <a:gd name="T8" fmla="*/ 4439 w 6656"/>
                <a:gd name="T9" fmla="*/ 191 h 6134"/>
                <a:gd name="T10" fmla="*/ 6012 w 6656"/>
                <a:gd name="T11" fmla="*/ 1617 h 6134"/>
                <a:gd name="T12" fmla="*/ 4419 w 6656"/>
                <a:gd name="T13" fmla="*/ 4784 h 6134"/>
                <a:gd name="T14" fmla="*/ 1706 w 6656"/>
                <a:gd name="T15" fmla="*/ 5701 h 6134"/>
                <a:gd name="T16" fmla="*/ 281 w 6656"/>
                <a:gd name="T17" fmla="*/ 3784 h 6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56" h="6134">
                  <a:moveTo>
                    <a:pt x="281" y="3784"/>
                  </a:moveTo>
                  <a:cubicBezTo>
                    <a:pt x="0" y="2769"/>
                    <a:pt x="150" y="718"/>
                    <a:pt x="2147" y="184"/>
                  </a:cubicBezTo>
                  <a:cubicBezTo>
                    <a:pt x="2600" y="63"/>
                    <a:pt x="3181" y="0"/>
                    <a:pt x="3761" y="59"/>
                  </a:cubicBezTo>
                  <a:cubicBezTo>
                    <a:pt x="3817" y="65"/>
                    <a:pt x="3872" y="72"/>
                    <a:pt x="3928" y="80"/>
                  </a:cubicBezTo>
                  <a:cubicBezTo>
                    <a:pt x="4101" y="105"/>
                    <a:pt x="4272" y="141"/>
                    <a:pt x="4439" y="191"/>
                  </a:cubicBezTo>
                  <a:cubicBezTo>
                    <a:pt x="5132" y="397"/>
                    <a:pt x="5741" y="832"/>
                    <a:pt x="6012" y="1617"/>
                  </a:cubicBezTo>
                  <a:cubicBezTo>
                    <a:pt x="6656" y="3479"/>
                    <a:pt x="5041" y="3866"/>
                    <a:pt x="4419" y="4784"/>
                  </a:cubicBezTo>
                  <a:cubicBezTo>
                    <a:pt x="3876" y="5584"/>
                    <a:pt x="2808" y="6134"/>
                    <a:pt x="1706" y="5701"/>
                  </a:cubicBezTo>
                  <a:cubicBezTo>
                    <a:pt x="1156" y="5484"/>
                    <a:pt x="520" y="4646"/>
                    <a:pt x="281" y="3784"/>
                  </a:cubicBezTo>
                </a:path>
              </a:pathLst>
            </a:custGeom>
            <a:solidFill>
              <a:srgbClr val="292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1">
              <a:extLst>
                <a:ext uri="{FF2B5EF4-FFF2-40B4-BE49-F238E27FC236}">
                  <a16:creationId xmlns:a16="http://schemas.microsoft.com/office/drawing/2014/main" id="{FD6971F9-E615-FAC1-9D13-058AE588E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92725" y="1539875"/>
              <a:ext cx="55563" cy="57150"/>
            </a:xfrm>
            <a:custGeom>
              <a:avLst/>
              <a:gdLst>
                <a:gd name="T0" fmla="*/ 121 w 121"/>
                <a:gd name="T1" fmla="*/ 124 h 124"/>
                <a:gd name="T2" fmla="*/ 1 w 121"/>
                <a:gd name="T3" fmla="*/ 31 h 124"/>
                <a:gd name="T4" fmla="*/ 0 w 121"/>
                <a:gd name="T5" fmla="*/ 0 h 124"/>
                <a:gd name="T6" fmla="*/ 121 w 121"/>
                <a:gd name="T7" fmla="*/ 10 h 124"/>
                <a:gd name="T8" fmla="*/ 121 w 121"/>
                <a:gd name="T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124">
                  <a:moveTo>
                    <a:pt x="121" y="124"/>
                  </a:moveTo>
                  <a:cubicBezTo>
                    <a:pt x="61" y="79"/>
                    <a:pt x="1" y="31"/>
                    <a:pt x="1" y="31"/>
                  </a:cubicBezTo>
                  <a:cubicBezTo>
                    <a:pt x="1" y="21"/>
                    <a:pt x="0" y="10"/>
                    <a:pt x="0" y="0"/>
                  </a:cubicBezTo>
                  <a:cubicBezTo>
                    <a:pt x="40" y="3"/>
                    <a:pt x="81" y="6"/>
                    <a:pt x="121" y="10"/>
                  </a:cubicBezTo>
                  <a:lnTo>
                    <a:pt x="121" y="124"/>
                  </a:lnTo>
                  <a:close/>
                </a:path>
              </a:pathLst>
            </a:custGeom>
            <a:solidFill>
              <a:srgbClr val="292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2">
              <a:extLst>
                <a:ext uri="{FF2B5EF4-FFF2-40B4-BE49-F238E27FC236}">
                  <a16:creationId xmlns:a16="http://schemas.microsoft.com/office/drawing/2014/main" id="{CEA7CC78-51F4-FA20-FE9E-CCF485B0F5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757863" y="3168650"/>
              <a:ext cx="433388" cy="444500"/>
            </a:xfrm>
            <a:custGeom>
              <a:avLst/>
              <a:gdLst>
                <a:gd name="T0" fmla="*/ 279 w 960"/>
                <a:gd name="T1" fmla="*/ 669 h 972"/>
                <a:gd name="T2" fmla="*/ 209 w 960"/>
                <a:gd name="T3" fmla="*/ 505 h 972"/>
                <a:gd name="T4" fmla="*/ 477 w 960"/>
                <a:gd name="T5" fmla="*/ 214 h 972"/>
                <a:gd name="T6" fmla="*/ 713 w 960"/>
                <a:gd name="T7" fmla="*/ 626 h 972"/>
                <a:gd name="T8" fmla="*/ 960 w 960"/>
                <a:gd name="T9" fmla="*/ 406 h 972"/>
                <a:gd name="T10" fmla="*/ 946 w 960"/>
                <a:gd name="T11" fmla="*/ 348 h 972"/>
                <a:gd name="T12" fmla="*/ 870 w 960"/>
                <a:gd name="T13" fmla="*/ 345 h 972"/>
                <a:gd name="T14" fmla="*/ 835 w 960"/>
                <a:gd name="T15" fmla="*/ 261 h 972"/>
                <a:gd name="T16" fmla="*/ 840 w 960"/>
                <a:gd name="T17" fmla="*/ 159 h 972"/>
                <a:gd name="T18" fmla="*/ 774 w 960"/>
                <a:gd name="T19" fmla="*/ 193 h 972"/>
                <a:gd name="T20" fmla="*/ 724 w 960"/>
                <a:gd name="T21" fmla="*/ 84 h 972"/>
                <a:gd name="T22" fmla="*/ 663 w 960"/>
                <a:gd name="T23" fmla="*/ 36 h 972"/>
                <a:gd name="T24" fmla="*/ 612 w 960"/>
                <a:gd name="T25" fmla="*/ 92 h 972"/>
                <a:gd name="T26" fmla="*/ 525 w 960"/>
                <a:gd name="T27" fmla="*/ 17 h 972"/>
                <a:gd name="T28" fmla="*/ 458 w 960"/>
                <a:gd name="T29" fmla="*/ 0 h 972"/>
                <a:gd name="T30" fmla="*/ 434 w 960"/>
                <a:gd name="T31" fmla="*/ 69 h 972"/>
                <a:gd name="T32" fmla="*/ 340 w 960"/>
                <a:gd name="T33" fmla="*/ 90 h 972"/>
                <a:gd name="T34" fmla="*/ 284 w 960"/>
                <a:gd name="T35" fmla="*/ 42 h 972"/>
                <a:gd name="T36" fmla="*/ 252 w 960"/>
                <a:gd name="T37" fmla="*/ 117 h 972"/>
                <a:gd name="T38" fmla="*/ 239 w 960"/>
                <a:gd name="T39" fmla="*/ 148 h 972"/>
                <a:gd name="T40" fmla="*/ 121 w 960"/>
                <a:gd name="T41" fmla="*/ 159 h 972"/>
                <a:gd name="T42" fmla="*/ 124 w 960"/>
                <a:gd name="T43" fmla="*/ 261 h 972"/>
                <a:gd name="T44" fmla="*/ 87 w 960"/>
                <a:gd name="T45" fmla="*/ 349 h 972"/>
                <a:gd name="T46" fmla="*/ 81 w 960"/>
                <a:gd name="T47" fmla="*/ 348 h 972"/>
                <a:gd name="T48" fmla="*/ 14 w 960"/>
                <a:gd name="T49" fmla="*/ 349 h 972"/>
                <a:gd name="T50" fmla="*/ 0 w 960"/>
                <a:gd name="T51" fmla="*/ 408 h 972"/>
                <a:gd name="T52" fmla="*/ 15 w 960"/>
                <a:gd name="T53" fmla="*/ 427 h 972"/>
                <a:gd name="T54" fmla="*/ 66 w 960"/>
                <a:gd name="T55" fmla="*/ 439 h 972"/>
                <a:gd name="T56" fmla="*/ 15 w 960"/>
                <a:gd name="T57" fmla="*/ 545 h 972"/>
                <a:gd name="T58" fmla="*/ 0 w 960"/>
                <a:gd name="T59" fmla="*/ 557 h 972"/>
                <a:gd name="T60" fmla="*/ 0 w 960"/>
                <a:gd name="T61" fmla="*/ 565 h 972"/>
                <a:gd name="T62" fmla="*/ 33 w 960"/>
                <a:gd name="T63" fmla="*/ 635 h 972"/>
                <a:gd name="T64" fmla="*/ 129 w 960"/>
                <a:gd name="T65" fmla="*/ 707 h 972"/>
                <a:gd name="T66" fmla="*/ 88 w 960"/>
                <a:gd name="T67" fmla="*/ 773 h 972"/>
                <a:gd name="T68" fmla="*/ 158 w 960"/>
                <a:gd name="T69" fmla="*/ 802 h 972"/>
                <a:gd name="T70" fmla="*/ 225 w 960"/>
                <a:gd name="T71" fmla="*/ 813 h 972"/>
                <a:gd name="T72" fmla="*/ 235 w 960"/>
                <a:gd name="T73" fmla="*/ 889 h 972"/>
                <a:gd name="T74" fmla="*/ 299 w 960"/>
                <a:gd name="T75" fmla="*/ 937 h 972"/>
                <a:gd name="T76" fmla="*/ 331 w 960"/>
                <a:gd name="T77" fmla="*/ 901 h 972"/>
                <a:gd name="T78" fmla="*/ 435 w 960"/>
                <a:gd name="T79" fmla="*/ 899 h 972"/>
                <a:gd name="T80" fmla="*/ 511 w 960"/>
                <a:gd name="T81" fmla="*/ 971 h 972"/>
                <a:gd name="T82" fmla="*/ 526 w 960"/>
                <a:gd name="T83" fmla="*/ 899 h 972"/>
                <a:gd name="T84" fmla="*/ 620 w 960"/>
                <a:gd name="T85" fmla="*/ 882 h 972"/>
                <a:gd name="T86" fmla="*/ 691 w 960"/>
                <a:gd name="T87" fmla="*/ 924 h 972"/>
                <a:gd name="T88" fmla="*/ 719 w 960"/>
                <a:gd name="T89" fmla="*/ 877 h 972"/>
                <a:gd name="T90" fmla="*/ 775 w 960"/>
                <a:gd name="T91" fmla="*/ 780 h 972"/>
                <a:gd name="T92" fmla="*/ 840 w 960"/>
                <a:gd name="T93" fmla="*/ 813 h 972"/>
                <a:gd name="T94" fmla="*/ 835 w 960"/>
                <a:gd name="T95" fmla="*/ 711 h 972"/>
                <a:gd name="T96" fmla="*/ 928 w 960"/>
                <a:gd name="T97" fmla="*/ 635 h 972"/>
                <a:gd name="T98" fmla="*/ 960 w 960"/>
                <a:gd name="T99" fmla="*/ 566 h 972"/>
                <a:gd name="T100" fmla="*/ 912 w 960"/>
                <a:gd name="T101" fmla="*/ 538 h 972"/>
                <a:gd name="T102" fmla="*/ 893 w 960"/>
                <a:gd name="T103" fmla="*/ 439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0" h="972">
                  <a:moveTo>
                    <a:pt x="713" y="626"/>
                  </a:moveTo>
                  <a:cubicBezTo>
                    <a:pt x="666" y="704"/>
                    <a:pt x="581" y="756"/>
                    <a:pt x="485" y="758"/>
                  </a:cubicBezTo>
                  <a:cubicBezTo>
                    <a:pt x="404" y="759"/>
                    <a:pt x="330" y="725"/>
                    <a:pt x="279" y="669"/>
                  </a:cubicBezTo>
                  <a:cubicBezTo>
                    <a:pt x="251" y="638"/>
                    <a:pt x="230" y="601"/>
                    <a:pt x="218" y="559"/>
                  </a:cubicBezTo>
                  <a:cubicBezTo>
                    <a:pt x="213" y="542"/>
                    <a:pt x="210" y="524"/>
                    <a:pt x="209" y="505"/>
                  </a:cubicBezTo>
                  <a:lnTo>
                    <a:pt x="209" y="505"/>
                  </a:lnTo>
                  <a:cubicBezTo>
                    <a:pt x="208" y="499"/>
                    <a:pt x="208" y="492"/>
                    <a:pt x="208" y="486"/>
                  </a:cubicBezTo>
                  <a:cubicBezTo>
                    <a:pt x="208" y="460"/>
                    <a:pt x="212" y="435"/>
                    <a:pt x="219" y="411"/>
                  </a:cubicBezTo>
                  <a:cubicBezTo>
                    <a:pt x="251" y="298"/>
                    <a:pt x="354" y="215"/>
                    <a:pt x="477" y="214"/>
                  </a:cubicBezTo>
                  <a:cubicBezTo>
                    <a:pt x="500" y="214"/>
                    <a:pt x="522" y="217"/>
                    <a:pt x="542" y="222"/>
                  </a:cubicBezTo>
                  <a:cubicBezTo>
                    <a:pt x="663" y="250"/>
                    <a:pt x="752" y="357"/>
                    <a:pt x="752" y="485"/>
                  </a:cubicBezTo>
                  <a:cubicBezTo>
                    <a:pt x="752" y="537"/>
                    <a:pt x="738" y="585"/>
                    <a:pt x="713" y="626"/>
                  </a:cubicBezTo>
                  <a:close/>
                  <a:moveTo>
                    <a:pt x="945" y="427"/>
                  </a:moveTo>
                  <a:cubicBezTo>
                    <a:pt x="952" y="425"/>
                    <a:pt x="957" y="422"/>
                    <a:pt x="960" y="416"/>
                  </a:cubicBezTo>
                  <a:lnTo>
                    <a:pt x="960" y="406"/>
                  </a:lnTo>
                  <a:cubicBezTo>
                    <a:pt x="959" y="403"/>
                    <a:pt x="959" y="400"/>
                    <a:pt x="958" y="397"/>
                  </a:cubicBezTo>
                  <a:lnTo>
                    <a:pt x="952" y="373"/>
                  </a:lnTo>
                  <a:cubicBezTo>
                    <a:pt x="950" y="365"/>
                    <a:pt x="948" y="357"/>
                    <a:pt x="946" y="348"/>
                  </a:cubicBezTo>
                  <a:cubicBezTo>
                    <a:pt x="944" y="339"/>
                    <a:pt x="937" y="335"/>
                    <a:pt x="928" y="337"/>
                  </a:cubicBezTo>
                  <a:cubicBezTo>
                    <a:pt x="911" y="341"/>
                    <a:pt x="894" y="345"/>
                    <a:pt x="877" y="348"/>
                  </a:cubicBezTo>
                  <a:cubicBezTo>
                    <a:pt x="873" y="349"/>
                    <a:pt x="872" y="349"/>
                    <a:pt x="870" y="345"/>
                  </a:cubicBezTo>
                  <a:cubicBezTo>
                    <a:pt x="863" y="327"/>
                    <a:pt x="856" y="310"/>
                    <a:pt x="848" y="293"/>
                  </a:cubicBezTo>
                  <a:cubicBezTo>
                    <a:pt x="843" y="283"/>
                    <a:pt x="837" y="274"/>
                    <a:pt x="832" y="264"/>
                  </a:cubicBezTo>
                  <a:lnTo>
                    <a:pt x="835" y="261"/>
                  </a:lnTo>
                  <a:cubicBezTo>
                    <a:pt x="849" y="250"/>
                    <a:pt x="862" y="239"/>
                    <a:pt x="876" y="228"/>
                  </a:cubicBezTo>
                  <a:cubicBezTo>
                    <a:pt x="882" y="223"/>
                    <a:pt x="884" y="216"/>
                    <a:pt x="879" y="209"/>
                  </a:cubicBezTo>
                  <a:cubicBezTo>
                    <a:pt x="866" y="192"/>
                    <a:pt x="853" y="175"/>
                    <a:pt x="840" y="159"/>
                  </a:cubicBezTo>
                  <a:cubicBezTo>
                    <a:pt x="834" y="152"/>
                    <a:pt x="826" y="152"/>
                    <a:pt x="819" y="158"/>
                  </a:cubicBezTo>
                  <a:cubicBezTo>
                    <a:pt x="807" y="167"/>
                    <a:pt x="796" y="175"/>
                    <a:pt x="785" y="184"/>
                  </a:cubicBezTo>
                  <a:cubicBezTo>
                    <a:pt x="781" y="187"/>
                    <a:pt x="778" y="190"/>
                    <a:pt x="774" y="193"/>
                  </a:cubicBezTo>
                  <a:cubicBezTo>
                    <a:pt x="751" y="170"/>
                    <a:pt x="727" y="151"/>
                    <a:pt x="701" y="134"/>
                  </a:cubicBezTo>
                  <a:cubicBezTo>
                    <a:pt x="701" y="132"/>
                    <a:pt x="702" y="131"/>
                    <a:pt x="703" y="130"/>
                  </a:cubicBezTo>
                  <a:cubicBezTo>
                    <a:pt x="710" y="114"/>
                    <a:pt x="717" y="99"/>
                    <a:pt x="724" y="84"/>
                  </a:cubicBezTo>
                  <a:cubicBezTo>
                    <a:pt x="729" y="74"/>
                    <a:pt x="727" y="67"/>
                    <a:pt x="717" y="62"/>
                  </a:cubicBezTo>
                  <a:cubicBezTo>
                    <a:pt x="708" y="56"/>
                    <a:pt x="698" y="51"/>
                    <a:pt x="688" y="47"/>
                  </a:cubicBezTo>
                  <a:cubicBezTo>
                    <a:pt x="680" y="43"/>
                    <a:pt x="672" y="39"/>
                    <a:pt x="663" y="36"/>
                  </a:cubicBezTo>
                  <a:cubicBezTo>
                    <a:pt x="654" y="32"/>
                    <a:pt x="647" y="35"/>
                    <a:pt x="643" y="44"/>
                  </a:cubicBezTo>
                  <a:cubicBezTo>
                    <a:pt x="635" y="59"/>
                    <a:pt x="628" y="74"/>
                    <a:pt x="620" y="89"/>
                  </a:cubicBezTo>
                  <a:cubicBezTo>
                    <a:pt x="618" y="93"/>
                    <a:pt x="616" y="94"/>
                    <a:pt x="612" y="92"/>
                  </a:cubicBezTo>
                  <a:cubicBezTo>
                    <a:pt x="586" y="83"/>
                    <a:pt x="558" y="77"/>
                    <a:pt x="530" y="74"/>
                  </a:cubicBezTo>
                  <a:cubicBezTo>
                    <a:pt x="527" y="74"/>
                    <a:pt x="526" y="72"/>
                    <a:pt x="526" y="69"/>
                  </a:cubicBezTo>
                  <a:cubicBezTo>
                    <a:pt x="526" y="51"/>
                    <a:pt x="526" y="34"/>
                    <a:pt x="525" y="17"/>
                  </a:cubicBezTo>
                  <a:cubicBezTo>
                    <a:pt x="525" y="8"/>
                    <a:pt x="520" y="2"/>
                    <a:pt x="511" y="1"/>
                  </a:cubicBezTo>
                  <a:cubicBezTo>
                    <a:pt x="508" y="1"/>
                    <a:pt x="505" y="0"/>
                    <a:pt x="502" y="0"/>
                  </a:cubicBezTo>
                  <a:lnTo>
                    <a:pt x="458" y="0"/>
                  </a:lnTo>
                  <a:cubicBezTo>
                    <a:pt x="455" y="0"/>
                    <a:pt x="453" y="1"/>
                    <a:pt x="450" y="1"/>
                  </a:cubicBezTo>
                  <a:cubicBezTo>
                    <a:pt x="440" y="2"/>
                    <a:pt x="435" y="7"/>
                    <a:pt x="435" y="18"/>
                  </a:cubicBezTo>
                  <a:cubicBezTo>
                    <a:pt x="435" y="35"/>
                    <a:pt x="434" y="52"/>
                    <a:pt x="434" y="69"/>
                  </a:cubicBezTo>
                  <a:cubicBezTo>
                    <a:pt x="434" y="72"/>
                    <a:pt x="433" y="74"/>
                    <a:pt x="430" y="74"/>
                  </a:cubicBezTo>
                  <a:cubicBezTo>
                    <a:pt x="402" y="77"/>
                    <a:pt x="374" y="83"/>
                    <a:pt x="347" y="93"/>
                  </a:cubicBezTo>
                  <a:cubicBezTo>
                    <a:pt x="343" y="94"/>
                    <a:pt x="342" y="93"/>
                    <a:pt x="340" y="90"/>
                  </a:cubicBezTo>
                  <a:cubicBezTo>
                    <a:pt x="333" y="74"/>
                    <a:pt x="325" y="59"/>
                    <a:pt x="318" y="44"/>
                  </a:cubicBezTo>
                  <a:cubicBezTo>
                    <a:pt x="313" y="34"/>
                    <a:pt x="305" y="32"/>
                    <a:pt x="297" y="36"/>
                  </a:cubicBezTo>
                  <a:cubicBezTo>
                    <a:pt x="293" y="38"/>
                    <a:pt x="288" y="40"/>
                    <a:pt x="284" y="42"/>
                  </a:cubicBezTo>
                  <a:cubicBezTo>
                    <a:pt x="270" y="49"/>
                    <a:pt x="256" y="55"/>
                    <a:pt x="242" y="63"/>
                  </a:cubicBezTo>
                  <a:cubicBezTo>
                    <a:pt x="233" y="67"/>
                    <a:pt x="231" y="74"/>
                    <a:pt x="235" y="83"/>
                  </a:cubicBezTo>
                  <a:cubicBezTo>
                    <a:pt x="241" y="94"/>
                    <a:pt x="246" y="106"/>
                    <a:pt x="252" y="117"/>
                  </a:cubicBezTo>
                  <a:cubicBezTo>
                    <a:pt x="253" y="119"/>
                    <a:pt x="253" y="121"/>
                    <a:pt x="254" y="123"/>
                  </a:cubicBezTo>
                  <a:cubicBezTo>
                    <a:pt x="256" y="127"/>
                    <a:pt x="258" y="130"/>
                    <a:pt x="260" y="134"/>
                  </a:cubicBezTo>
                  <a:cubicBezTo>
                    <a:pt x="252" y="139"/>
                    <a:pt x="245" y="143"/>
                    <a:pt x="239" y="148"/>
                  </a:cubicBezTo>
                  <a:cubicBezTo>
                    <a:pt x="220" y="162"/>
                    <a:pt x="202" y="177"/>
                    <a:pt x="186" y="193"/>
                  </a:cubicBezTo>
                  <a:cubicBezTo>
                    <a:pt x="171" y="181"/>
                    <a:pt x="156" y="169"/>
                    <a:pt x="141" y="158"/>
                  </a:cubicBezTo>
                  <a:cubicBezTo>
                    <a:pt x="134" y="152"/>
                    <a:pt x="126" y="152"/>
                    <a:pt x="121" y="159"/>
                  </a:cubicBezTo>
                  <a:cubicBezTo>
                    <a:pt x="107" y="175"/>
                    <a:pt x="94" y="192"/>
                    <a:pt x="81" y="209"/>
                  </a:cubicBezTo>
                  <a:cubicBezTo>
                    <a:pt x="76" y="215"/>
                    <a:pt x="78" y="223"/>
                    <a:pt x="84" y="228"/>
                  </a:cubicBezTo>
                  <a:cubicBezTo>
                    <a:pt x="98" y="239"/>
                    <a:pt x="111" y="250"/>
                    <a:pt x="124" y="261"/>
                  </a:cubicBezTo>
                  <a:cubicBezTo>
                    <a:pt x="126" y="262"/>
                    <a:pt x="127" y="263"/>
                    <a:pt x="128" y="264"/>
                  </a:cubicBezTo>
                  <a:cubicBezTo>
                    <a:pt x="120" y="278"/>
                    <a:pt x="113" y="292"/>
                    <a:pt x="106" y="306"/>
                  </a:cubicBezTo>
                  <a:cubicBezTo>
                    <a:pt x="99" y="320"/>
                    <a:pt x="93" y="335"/>
                    <a:pt x="87" y="349"/>
                  </a:cubicBezTo>
                  <a:lnTo>
                    <a:pt x="83" y="348"/>
                  </a:lnTo>
                  <a:lnTo>
                    <a:pt x="81" y="348"/>
                  </a:lnTo>
                  <a:lnTo>
                    <a:pt x="81" y="348"/>
                  </a:lnTo>
                  <a:cubicBezTo>
                    <a:pt x="65" y="344"/>
                    <a:pt x="49" y="341"/>
                    <a:pt x="33" y="337"/>
                  </a:cubicBezTo>
                  <a:cubicBezTo>
                    <a:pt x="27" y="336"/>
                    <a:pt x="23" y="337"/>
                    <a:pt x="20" y="339"/>
                  </a:cubicBezTo>
                  <a:cubicBezTo>
                    <a:pt x="17" y="341"/>
                    <a:pt x="15" y="344"/>
                    <a:pt x="14" y="349"/>
                  </a:cubicBezTo>
                  <a:cubicBezTo>
                    <a:pt x="12" y="356"/>
                    <a:pt x="10" y="363"/>
                    <a:pt x="8" y="370"/>
                  </a:cubicBezTo>
                  <a:cubicBezTo>
                    <a:pt x="7" y="374"/>
                    <a:pt x="6" y="379"/>
                    <a:pt x="5" y="384"/>
                  </a:cubicBezTo>
                  <a:cubicBezTo>
                    <a:pt x="3" y="392"/>
                    <a:pt x="1" y="400"/>
                    <a:pt x="0" y="408"/>
                  </a:cubicBezTo>
                  <a:lnTo>
                    <a:pt x="0" y="414"/>
                  </a:lnTo>
                  <a:cubicBezTo>
                    <a:pt x="2" y="421"/>
                    <a:pt x="6" y="425"/>
                    <a:pt x="12" y="426"/>
                  </a:cubicBezTo>
                  <a:lnTo>
                    <a:pt x="15" y="427"/>
                  </a:lnTo>
                  <a:cubicBezTo>
                    <a:pt x="25" y="429"/>
                    <a:pt x="34" y="431"/>
                    <a:pt x="44" y="433"/>
                  </a:cubicBezTo>
                  <a:cubicBezTo>
                    <a:pt x="50" y="435"/>
                    <a:pt x="57" y="436"/>
                    <a:pt x="62" y="438"/>
                  </a:cubicBezTo>
                  <a:lnTo>
                    <a:pt x="66" y="439"/>
                  </a:lnTo>
                  <a:lnTo>
                    <a:pt x="66" y="533"/>
                  </a:lnTo>
                  <a:cubicBezTo>
                    <a:pt x="65" y="533"/>
                    <a:pt x="64" y="534"/>
                    <a:pt x="62" y="534"/>
                  </a:cubicBezTo>
                  <a:cubicBezTo>
                    <a:pt x="46" y="538"/>
                    <a:pt x="31" y="542"/>
                    <a:pt x="15" y="545"/>
                  </a:cubicBezTo>
                  <a:cubicBezTo>
                    <a:pt x="8" y="547"/>
                    <a:pt x="4" y="549"/>
                    <a:pt x="1" y="555"/>
                  </a:cubicBezTo>
                  <a:lnTo>
                    <a:pt x="0" y="556"/>
                  </a:lnTo>
                  <a:lnTo>
                    <a:pt x="0" y="557"/>
                  </a:lnTo>
                  <a:lnTo>
                    <a:pt x="0" y="564"/>
                  </a:lnTo>
                  <a:lnTo>
                    <a:pt x="0" y="565"/>
                  </a:lnTo>
                  <a:lnTo>
                    <a:pt x="0" y="565"/>
                  </a:lnTo>
                  <a:lnTo>
                    <a:pt x="1" y="568"/>
                  </a:lnTo>
                  <a:cubicBezTo>
                    <a:pt x="5" y="586"/>
                    <a:pt x="9" y="604"/>
                    <a:pt x="13" y="623"/>
                  </a:cubicBezTo>
                  <a:cubicBezTo>
                    <a:pt x="16" y="633"/>
                    <a:pt x="22" y="637"/>
                    <a:pt x="33" y="635"/>
                  </a:cubicBezTo>
                  <a:cubicBezTo>
                    <a:pt x="40" y="633"/>
                    <a:pt x="46" y="632"/>
                    <a:pt x="53" y="630"/>
                  </a:cubicBezTo>
                  <a:cubicBezTo>
                    <a:pt x="64" y="628"/>
                    <a:pt x="76" y="625"/>
                    <a:pt x="88" y="623"/>
                  </a:cubicBezTo>
                  <a:cubicBezTo>
                    <a:pt x="98" y="653"/>
                    <a:pt x="112" y="681"/>
                    <a:pt x="129" y="707"/>
                  </a:cubicBezTo>
                  <a:cubicBezTo>
                    <a:pt x="114" y="720"/>
                    <a:pt x="99" y="732"/>
                    <a:pt x="85" y="743"/>
                  </a:cubicBezTo>
                  <a:cubicBezTo>
                    <a:pt x="78" y="749"/>
                    <a:pt x="76" y="757"/>
                    <a:pt x="81" y="764"/>
                  </a:cubicBezTo>
                  <a:cubicBezTo>
                    <a:pt x="83" y="767"/>
                    <a:pt x="85" y="770"/>
                    <a:pt x="88" y="773"/>
                  </a:cubicBezTo>
                  <a:cubicBezTo>
                    <a:pt x="98" y="786"/>
                    <a:pt x="108" y="799"/>
                    <a:pt x="119" y="812"/>
                  </a:cubicBezTo>
                  <a:cubicBezTo>
                    <a:pt x="126" y="820"/>
                    <a:pt x="134" y="820"/>
                    <a:pt x="142" y="814"/>
                  </a:cubicBezTo>
                  <a:cubicBezTo>
                    <a:pt x="147" y="810"/>
                    <a:pt x="152" y="806"/>
                    <a:pt x="158" y="802"/>
                  </a:cubicBezTo>
                  <a:cubicBezTo>
                    <a:pt x="167" y="794"/>
                    <a:pt x="176" y="787"/>
                    <a:pt x="185" y="780"/>
                  </a:cubicBezTo>
                  <a:cubicBezTo>
                    <a:pt x="198" y="790"/>
                    <a:pt x="209" y="801"/>
                    <a:pt x="221" y="811"/>
                  </a:cubicBezTo>
                  <a:lnTo>
                    <a:pt x="225" y="813"/>
                  </a:lnTo>
                  <a:cubicBezTo>
                    <a:pt x="236" y="822"/>
                    <a:pt x="248" y="830"/>
                    <a:pt x="259" y="839"/>
                  </a:cubicBezTo>
                  <a:lnTo>
                    <a:pt x="258" y="842"/>
                  </a:lnTo>
                  <a:lnTo>
                    <a:pt x="235" y="889"/>
                  </a:lnTo>
                  <a:cubicBezTo>
                    <a:pt x="231" y="897"/>
                    <a:pt x="233" y="905"/>
                    <a:pt x="241" y="909"/>
                  </a:cubicBezTo>
                  <a:cubicBezTo>
                    <a:pt x="260" y="919"/>
                    <a:pt x="279" y="928"/>
                    <a:pt x="298" y="937"/>
                  </a:cubicBezTo>
                  <a:lnTo>
                    <a:pt x="299" y="937"/>
                  </a:lnTo>
                  <a:cubicBezTo>
                    <a:pt x="307" y="940"/>
                    <a:pt x="313" y="937"/>
                    <a:pt x="317" y="929"/>
                  </a:cubicBezTo>
                  <a:lnTo>
                    <a:pt x="319" y="926"/>
                  </a:lnTo>
                  <a:cubicBezTo>
                    <a:pt x="323" y="918"/>
                    <a:pt x="327" y="910"/>
                    <a:pt x="331" y="901"/>
                  </a:cubicBezTo>
                  <a:cubicBezTo>
                    <a:pt x="335" y="894"/>
                    <a:pt x="338" y="886"/>
                    <a:pt x="342" y="878"/>
                  </a:cubicBezTo>
                  <a:cubicBezTo>
                    <a:pt x="366" y="886"/>
                    <a:pt x="390" y="892"/>
                    <a:pt x="415" y="896"/>
                  </a:cubicBezTo>
                  <a:cubicBezTo>
                    <a:pt x="421" y="897"/>
                    <a:pt x="428" y="898"/>
                    <a:pt x="435" y="899"/>
                  </a:cubicBezTo>
                  <a:lnTo>
                    <a:pt x="435" y="955"/>
                  </a:lnTo>
                  <a:cubicBezTo>
                    <a:pt x="435" y="965"/>
                    <a:pt x="439" y="971"/>
                    <a:pt x="449" y="971"/>
                  </a:cubicBezTo>
                  <a:cubicBezTo>
                    <a:pt x="470" y="972"/>
                    <a:pt x="491" y="971"/>
                    <a:pt x="511" y="971"/>
                  </a:cubicBezTo>
                  <a:cubicBezTo>
                    <a:pt x="521" y="971"/>
                    <a:pt x="525" y="965"/>
                    <a:pt x="525" y="955"/>
                  </a:cubicBezTo>
                  <a:cubicBezTo>
                    <a:pt x="526" y="938"/>
                    <a:pt x="526" y="921"/>
                    <a:pt x="526" y="904"/>
                  </a:cubicBezTo>
                  <a:cubicBezTo>
                    <a:pt x="526" y="902"/>
                    <a:pt x="526" y="901"/>
                    <a:pt x="526" y="899"/>
                  </a:cubicBezTo>
                  <a:cubicBezTo>
                    <a:pt x="528" y="899"/>
                    <a:pt x="531" y="898"/>
                    <a:pt x="533" y="898"/>
                  </a:cubicBezTo>
                  <a:cubicBezTo>
                    <a:pt x="562" y="894"/>
                    <a:pt x="590" y="888"/>
                    <a:pt x="618" y="878"/>
                  </a:cubicBezTo>
                  <a:cubicBezTo>
                    <a:pt x="618" y="879"/>
                    <a:pt x="619" y="881"/>
                    <a:pt x="620" y="882"/>
                  </a:cubicBezTo>
                  <a:cubicBezTo>
                    <a:pt x="627" y="897"/>
                    <a:pt x="635" y="912"/>
                    <a:pt x="642" y="927"/>
                  </a:cubicBezTo>
                  <a:cubicBezTo>
                    <a:pt x="647" y="938"/>
                    <a:pt x="654" y="940"/>
                    <a:pt x="664" y="936"/>
                  </a:cubicBezTo>
                  <a:cubicBezTo>
                    <a:pt x="673" y="932"/>
                    <a:pt x="682" y="928"/>
                    <a:pt x="691" y="924"/>
                  </a:cubicBezTo>
                  <a:cubicBezTo>
                    <a:pt x="700" y="920"/>
                    <a:pt x="709" y="915"/>
                    <a:pt x="718" y="910"/>
                  </a:cubicBezTo>
                  <a:cubicBezTo>
                    <a:pt x="727" y="905"/>
                    <a:pt x="729" y="898"/>
                    <a:pt x="724" y="889"/>
                  </a:cubicBezTo>
                  <a:cubicBezTo>
                    <a:pt x="723" y="885"/>
                    <a:pt x="721" y="881"/>
                    <a:pt x="719" y="877"/>
                  </a:cubicBezTo>
                  <a:cubicBezTo>
                    <a:pt x="713" y="864"/>
                    <a:pt x="707" y="851"/>
                    <a:pt x="701" y="839"/>
                  </a:cubicBezTo>
                  <a:cubicBezTo>
                    <a:pt x="714" y="829"/>
                    <a:pt x="727" y="820"/>
                    <a:pt x="739" y="811"/>
                  </a:cubicBezTo>
                  <a:cubicBezTo>
                    <a:pt x="751" y="801"/>
                    <a:pt x="762" y="790"/>
                    <a:pt x="775" y="780"/>
                  </a:cubicBezTo>
                  <a:lnTo>
                    <a:pt x="779" y="783"/>
                  </a:lnTo>
                  <a:cubicBezTo>
                    <a:pt x="792" y="793"/>
                    <a:pt x="805" y="804"/>
                    <a:pt x="819" y="814"/>
                  </a:cubicBezTo>
                  <a:cubicBezTo>
                    <a:pt x="826" y="820"/>
                    <a:pt x="834" y="820"/>
                    <a:pt x="840" y="813"/>
                  </a:cubicBezTo>
                  <a:cubicBezTo>
                    <a:pt x="853" y="797"/>
                    <a:pt x="866" y="780"/>
                    <a:pt x="879" y="764"/>
                  </a:cubicBezTo>
                  <a:cubicBezTo>
                    <a:pt x="884" y="757"/>
                    <a:pt x="882" y="749"/>
                    <a:pt x="875" y="743"/>
                  </a:cubicBezTo>
                  <a:cubicBezTo>
                    <a:pt x="862" y="732"/>
                    <a:pt x="849" y="722"/>
                    <a:pt x="835" y="711"/>
                  </a:cubicBezTo>
                  <a:lnTo>
                    <a:pt x="831" y="707"/>
                  </a:lnTo>
                  <a:cubicBezTo>
                    <a:pt x="848" y="681"/>
                    <a:pt x="862" y="652"/>
                    <a:pt x="872" y="623"/>
                  </a:cubicBezTo>
                  <a:cubicBezTo>
                    <a:pt x="891" y="627"/>
                    <a:pt x="909" y="631"/>
                    <a:pt x="928" y="635"/>
                  </a:cubicBezTo>
                  <a:cubicBezTo>
                    <a:pt x="937" y="637"/>
                    <a:pt x="943" y="633"/>
                    <a:pt x="946" y="624"/>
                  </a:cubicBezTo>
                  <a:cubicBezTo>
                    <a:pt x="948" y="617"/>
                    <a:pt x="950" y="611"/>
                    <a:pt x="952" y="604"/>
                  </a:cubicBezTo>
                  <a:cubicBezTo>
                    <a:pt x="955" y="591"/>
                    <a:pt x="957" y="578"/>
                    <a:pt x="960" y="566"/>
                  </a:cubicBezTo>
                  <a:lnTo>
                    <a:pt x="960" y="556"/>
                  </a:lnTo>
                  <a:cubicBezTo>
                    <a:pt x="957" y="550"/>
                    <a:pt x="952" y="547"/>
                    <a:pt x="945" y="545"/>
                  </a:cubicBezTo>
                  <a:cubicBezTo>
                    <a:pt x="934" y="543"/>
                    <a:pt x="923" y="540"/>
                    <a:pt x="912" y="538"/>
                  </a:cubicBezTo>
                  <a:cubicBezTo>
                    <a:pt x="906" y="536"/>
                    <a:pt x="899" y="535"/>
                    <a:pt x="893" y="533"/>
                  </a:cubicBezTo>
                  <a:cubicBezTo>
                    <a:pt x="894" y="517"/>
                    <a:pt x="895" y="501"/>
                    <a:pt x="895" y="486"/>
                  </a:cubicBezTo>
                  <a:cubicBezTo>
                    <a:pt x="895" y="470"/>
                    <a:pt x="894" y="455"/>
                    <a:pt x="893" y="439"/>
                  </a:cubicBezTo>
                  <a:cubicBezTo>
                    <a:pt x="908" y="435"/>
                    <a:pt x="923" y="432"/>
                    <a:pt x="937" y="429"/>
                  </a:cubicBezTo>
                  <a:cubicBezTo>
                    <a:pt x="940" y="428"/>
                    <a:pt x="943" y="427"/>
                    <a:pt x="945" y="427"/>
                  </a:cubicBezTo>
                </a:path>
              </a:pathLst>
            </a:custGeom>
            <a:solidFill>
              <a:srgbClr val="5853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3">
              <a:extLst>
                <a:ext uri="{FF2B5EF4-FFF2-40B4-BE49-F238E27FC236}">
                  <a16:creationId xmlns:a16="http://schemas.microsoft.com/office/drawing/2014/main" id="{BDEC88D5-9E58-2592-7F58-400F9D5145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05600" y="2444750"/>
              <a:ext cx="434975" cy="442913"/>
            </a:xfrm>
            <a:custGeom>
              <a:avLst/>
              <a:gdLst>
                <a:gd name="T0" fmla="*/ 752 w 960"/>
                <a:gd name="T1" fmla="*/ 485 h 971"/>
                <a:gd name="T2" fmla="*/ 691 w 960"/>
                <a:gd name="T3" fmla="*/ 658 h 971"/>
                <a:gd name="T4" fmla="*/ 549 w 960"/>
                <a:gd name="T5" fmla="*/ 749 h 971"/>
                <a:gd name="T6" fmla="*/ 208 w 960"/>
                <a:gd name="T7" fmla="*/ 486 h 971"/>
                <a:gd name="T8" fmla="*/ 958 w 960"/>
                <a:gd name="T9" fmla="*/ 397 h 971"/>
                <a:gd name="T10" fmla="*/ 928 w 960"/>
                <a:gd name="T11" fmla="*/ 337 h 971"/>
                <a:gd name="T12" fmla="*/ 848 w 960"/>
                <a:gd name="T13" fmla="*/ 293 h 971"/>
                <a:gd name="T14" fmla="*/ 876 w 960"/>
                <a:gd name="T15" fmla="*/ 228 h 971"/>
                <a:gd name="T16" fmla="*/ 840 w 960"/>
                <a:gd name="T17" fmla="*/ 159 h 971"/>
                <a:gd name="T18" fmla="*/ 774 w 960"/>
                <a:gd name="T19" fmla="*/ 193 h 971"/>
                <a:gd name="T20" fmla="*/ 725 w 960"/>
                <a:gd name="T21" fmla="*/ 83 h 971"/>
                <a:gd name="T22" fmla="*/ 663 w 960"/>
                <a:gd name="T23" fmla="*/ 36 h 971"/>
                <a:gd name="T24" fmla="*/ 612 w 960"/>
                <a:gd name="T25" fmla="*/ 92 h 971"/>
                <a:gd name="T26" fmla="*/ 526 w 960"/>
                <a:gd name="T27" fmla="*/ 17 h 971"/>
                <a:gd name="T28" fmla="*/ 458 w 960"/>
                <a:gd name="T29" fmla="*/ 0 h 971"/>
                <a:gd name="T30" fmla="*/ 434 w 960"/>
                <a:gd name="T31" fmla="*/ 69 h 971"/>
                <a:gd name="T32" fmla="*/ 340 w 960"/>
                <a:gd name="T33" fmla="*/ 90 h 971"/>
                <a:gd name="T34" fmla="*/ 242 w 960"/>
                <a:gd name="T35" fmla="*/ 62 h 971"/>
                <a:gd name="T36" fmla="*/ 260 w 960"/>
                <a:gd name="T37" fmla="*/ 134 h 971"/>
                <a:gd name="T38" fmla="*/ 121 w 960"/>
                <a:gd name="T39" fmla="*/ 159 h 971"/>
                <a:gd name="T40" fmla="*/ 125 w 960"/>
                <a:gd name="T41" fmla="*/ 261 h 971"/>
                <a:gd name="T42" fmla="*/ 87 w 960"/>
                <a:gd name="T43" fmla="*/ 349 h 971"/>
                <a:gd name="T44" fmla="*/ 14 w 960"/>
                <a:gd name="T45" fmla="*/ 348 h 971"/>
                <a:gd name="T46" fmla="*/ 0 w 960"/>
                <a:gd name="T47" fmla="*/ 414 h 971"/>
                <a:gd name="T48" fmla="*/ 66 w 960"/>
                <a:gd name="T49" fmla="*/ 439 h 971"/>
                <a:gd name="T50" fmla="*/ 15 w 960"/>
                <a:gd name="T51" fmla="*/ 545 h 971"/>
                <a:gd name="T52" fmla="*/ 1 w 960"/>
                <a:gd name="T53" fmla="*/ 568 h 971"/>
                <a:gd name="T54" fmla="*/ 53 w 960"/>
                <a:gd name="T55" fmla="*/ 630 h 971"/>
                <a:gd name="T56" fmla="*/ 85 w 960"/>
                <a:gd name="T57" fmla="*/ 743 h 971"/>
                <a:gd name="T58" fmla="*/ 119 w 960"/>
                <a:gd name="T59" fmla="*/ 812 h 971"/>
                <a:gd name="T60" fmla="*/ 186 w 960"/>
                <a:gd name="T61" fmla="*/ 780 h 971"/>
                <a:gd name="T62" fmla="*/ 258 w 960"/>
                <a:gd name="T63" fmla="*/ 842 h 971"/>
                <a:gd name="T64" fmla="*/ 298 w 960"/>
                <a:gd name="T65" fmla="*/ 936 h 971"/>
                <a:gd name="T66" fmla="*/ 343 w 960"/>
                <a:gd name="T67" fmla="*/ 878 h 971"/>
                <a:gd name="T68" fmla="*/ 435 w 960"/>
                <a:gd name="T69" fmla="*/ 954 h 971"/>
                <a:gd name="T70" fmla="*/ 517 w 960"/>
                <a:gd name="T71" fmla="*/ 970 h 971"/>
                <a:gd name="T72" fmla="*/ 526 w 960"/>
                <a:gd name="T73" fmla="*/ 922 h 971"/>
                <a:gd name="T74" fmla="*/ 541 w 960"/>
                <a:gd name="T75" fmla="*/ 897 h 971"/>
                <a:gd name="T76" fmla="*/ 642 w 960"/>
                <a:gd name="T77" fmla="*/ 927 h 971"/>
                <a:gd name="T78" fmla="*/ 691 w 960"/>
                <a:gd name="T79" fmla="*/ 924 h 971"/>
                <a:gd name="T80" fmla="*/ 719 w 960"/>
                <a:gd name="T81" fmla="*/ 877 h 971"/>
                <a:gd name="T82" fmla="*/ 756 w 960"/>
                <a:gd name="T83" fmla="*/ 796 h 971"/>
                <a:gd name="T84" fmla="*/ 819 w 960"/>
                <a:gd name="T85" fmla="*/ 814 h 971"/>
                <a:gd name="T86" fmla="*/ 879 w 960"/>
                <a:gd name="T87" fmla="*/ 763 h 971"/>
                <a:gd name="T88" fmla="*/ 875 w 960"/>
                <a:gd name="T89" fmla="*/ 743 h 971"/>
                <a:gd name="T90" fmla="*/ 832 w 960"/>
                <a:gd name="T91" fmla="*/ 707 h 971"/>
                <a:gd name="T92" fmla="*/ 873 w 960"/>
                <a:gd name="T93" fmla="*/ 623 h 971"/>
                <a:gd name="T94" fmla="*/ 946 w 960"/>
                <a:gd name="T95" fmla="*/ 624 h 971"/>
                <a:gd name="T96" fmla="*/ 960 w 960"/>
                <a:gd name="T97" fmla="*/ 556 h 971"/>
                <a:gd name="T98" fmla="*/ 893 w 960"/>
                <a:gd name="T99" fmla="*/ 533 h 971"/>
                <a:gd name="T100" fmla="*/ 945 w 960"/>
                <a:gd name="T101" fmla="*/ 427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0" h="971">
                  <a:moveTo>
                    <a:pt x="208" y="486"/>
                  </a:moveTo>
                  <a:cubicBezTo>
                    <a:pt x="209" y="336"/>
                    <a:pt x="329" y="215"/>
                    <a:pt x="478" y="214"/>
                  </a:cubicBezTo>
                  <a:cubicBezTo>
                    <a:pt x="629" y="213"/>
                    <a:pt x="752" y="335"/>
                    <a:pt x="752" y="485"/>
                  </a:cubicBezTo>
                  <a:cubicBezTo>
                    <a:pt x="752" y="498"/>
                    <a:pt x="751" y="511"/>
                    <a:pt x="749" y="524"/>
                  </a:cubicBezTo>
                  <a:cubicBezTo>
                    <a:pt x="742" y="573"/>
                    <a:pt x="723" y="618"/>
                    <a:pt x="694" y="654"/>
                  </a:cubicBezTo>
                  <a:lnTo>
                    <a:pt x="691" y="658"/>
                  </a:lnTo>
                  <a:cubicBezTo>
                    <a:pt x="687" y="663"/>
                    <a:pt x="683" y="667"/>
                    <a:pt x="678" y="672"/>
                  </a:cubicBezTo>
                  <a:cubicBezTo>
                    <a:pt x="648" y="704"/>
                    <a:pt x="610" y="729"/>
                    <a:pt x="568" y="743"/>
                  </a:cubicBezTo>
                  <a:cubicBezTo>
                    <a:pt x="562" y="745"/>
                    <a:pt x="556" y="747"/>
                    <a:pt x="549" y="749"/>
                  </a:cubicBezTo>
                  <a:cubicBezTo>
                    <a:pt x="529" y="754"/>
                    <a:pt x="507" y="757"/>
                    <a:pt x="485" y="758"/>
                  </a:cubicBezTo>
                  <a:cubicBezTo>
                    <a:pt x="476" y="758"/>
                    <a:pt x="467" y="758"/>
                    <a:pt x="458" y="757"/>
                  </a:cubicBezTo>
                  <a:cubicBezTo>
                    <a:pt x="319" y="745"/>
                    <a:pt x="209" y="629"/>
                    <a:pt x="208" y="486"/>
                  </a:cubicBezTo>
                  <a:close/>
                  <a:moveTo>
                    <a:pt x="960" y="415"/>
                  </a:moveTo>
                  <a:lnTo>
                    <a:pt x="960" y="406"/>
                  </a:lnTo>
                  <a:cubicBezTo>
                    <a:pt x="960" y="403"/>
                    <a:pt x="959" y="400"/>
                    <a:pt x="958" y="397"/>
                  </a:cubicBezTo>
                  <a:cubicBezTo>
                    <a:pt x="956" y="387"/>
                    <a:pt x="953" y="377"/>
                    <a:pt x="951" y="366"/>
                  </a:cubicBezTo>
                  <a:cubicBezTo>
                    <a:pt x="950" y="360"/>
                    <a:pt x="948" y="354"/>
                    <a:pt x="946" y="348"/>
                  </a:cubicBezTo>
                  <a:cubicBezTo>
                    <a:pt x="944" y="339"/>
                    <a:pt x="937" y="335"/>
                    <a:pt x="928" y="337"/>
                  </a:cubicBezTo>
                  <a:cubicBezTo>
                    <a:pt x="911" y="341"/>
                    <a:pt x="894" y="344"/>
                    <a:pt x="878" y="348"/>
                  </a:cubicBezTo>
                  <a:cubicBezTo>
                    <a:pt x="874" y="349"/>
                    <a:pt x="872" y="348"/>
                    <a:pt x="871" y="345"/>
                  </a:cubicBezTo>
                  <a:cubicBezTo>
                    <a:pt x="863" y="327"/>
                    <a:pt x="856" y="310"/>
                    <a:pt x="848" y="293"/>
                  </a:cubicBezTo>
                  <a:cubicBezTo>
                    <a:pt x="843" y="283"/>
                    <a:pt x="837" y="274"/>
                    <a:pt x="832" y="264"/>
                  </a:cubicBezTo>
                  <a:lnTo>
                    <a:pt x="836" y="261"/>
                  </a:lnTo>
                  <a:cubicBezTo>
                    <a:pt x="849" y="250"/>
                    <a:pt x="863" y="239"/>
                    <a:pt x="876" y="228"/>
                  </a:cubicBezTo>
                  <a:cubicBezTo>
                    <a:pt x="883" y="223"/>
                    <a:pt x="884" y="215"/>
                    <a:pt x="879" y="209"/>
                  </a:cubicBezTo>
                  <a:cubicBezTo>
                    <a:pt x="875" y="203"/>
                    <a:pt x="871" y="198"/>
                    <a:pt x="867" y="193"/>
                  </a:cubicBezTo>
                  <a:cubicBezTo>
                    <a:pt x="858" y="181"/>
                    <a:pt x="849" y="170"/>
                    <a:pt x="840" y="159"/>
                  </a:cubicBezTo>
                  <a:cubicBezTo>
                    <a:pt x="834" y="152"/>
                    <a:pt x="826" y="152"/>
                    <a:pt x="819" y="158"/>
                  </a:cubicBezTo>
                  <a:cubicBezTo>
                    <a:pt x="808" y="166"/>
                    <a:pt x="797" y="175"/>
                    <a:pt x="785" y="184"/>
                  </a:cubicBezTo>
                  <a:cubicBezTo>
                    <a:pt x="782" y="187"/>
                    <a:pt x="778" y="190"/>
                    <a:pt x="774" y="193"/>
                  </a:cubicBezTo>
                  <a:cubicBezTo>
                    <a:pt x="752" y="170"/>
                    <a:pt x="727" y="151"/>
                    <a:pt x="701" y="134"/>
                  </a:cubicBezTo>
                  <a:cubicBezTo>
                    <a:pt x="702" y="132"/>
                    <a:pt x="702" y="131"/>
                    <a:pt x="703" y="129"/>
                  </a:cubicBezTo>
                  <a:cubicBezTo>
                    <a:pt x="710" y="114"/>
                    <a:pt x="717" y="99"/>
                    <a:pt x="725" y="83"/>
                  </a:cubicBezTo>
                  <a:cubicBezTo>
                    <a:pt x="729" y="74"/>
                    <a:pt x="727" y="67"/>
                    <a:pt x="718" y="62"/>
                  </a:cubicBezTo>
                  <a:cubicBezTo>
                    <a:pt x="708" y="56"/>
                    <a:pt x="698" y="51"/>
                    <a:pt x="689" y="47"/>
                  </a:cubicBezTo>
                  <a:cubicBezTo>
                    <a:pt x="680" y="43"/>
                    <a:pt x="672" y="39"/>
                    <a:pt x="663" y="36"/>
                  </a:cubicBezTo>
                  <a:cubicBezTo>
                    <a:pt x="654" y="32"/>
                    <a:pt x="647" y="35"/>
                    <a:pt x="643" y="44"/>
                  </a:cubicBezTo>
                  <a:cubicBezTo>
                    <a:pt x="635" y="59"/>
                    <a:pt x="628" y="74"/>
                    <a:pt x="621" y="89"/>
                  </a:cubicBezTo>
                  <a:cubicBezTo>
                    <a:pt x="619" y="93"/>
                    <a:pt x="617" y="94"/>
                    <a:pt x="612" y="92"/>
                  </a:cubicBezTo>
                  <a:cubicBezTo>
                    <a:pt x="586" y="83"/>
                    <a:pt x="558" y="77"/>
                    <a:pt x="530" y="74"/>
                  </a:cubicBezTo>
                  <a:cubicBezTo>
                    <a:pt x="527" y="73"/>
                    <a:pt x="526" y="72"/>
                    <a:pt x="526" y="69"/>
                  </a:cubicBezTo>
                  <a:cubicBezTo>
                    <a:pt x="526" y="51"/>
                    <a:pt x="526" y="34"/>
                    <a:pt x="526" y="17"/>
                  </a:cubicBezTo>
                  <a:cubicBezTo>
                    <a:pt x="526" y="7"/>
                    <a:pt x="520" y="2"/>
                    <a:pt x="511" y="1"/>
                  </a:cubicBezTo>
                  <a:cubicBezTo>
                    <a:pt x="508" y="1"/>
                    <a:pt x="505" y="0"/>
                    <a:pt x="502" y="0"/>
                  </a:cubicBezTo>
                  <a:lnTo>
                    <a:pt x="458" y="0"/>
                  </a:lnTo>
                  <a:cubicBezTo>
                    <a:pt x="456" y="0"/>
                    <a:pt x="453" y="1"/>
                    <a:pt x="451" y="1"/>
                  </a:cubicBezTo>
                  <a:cubicBezTo>
                    <a:pt x="440" y="1"/>
                    <a:pt x="435" y="7"/>
                    <a:pt x="435" y="17"/>
                  </a:cubicBezTo>
                  <a:lnTo>
                    <a:pt x="434" y="69"/>
                  </a:lnTo>
                  <a:cubicBezTo>
                    <a:pt x="434" y="72"/>
                    <a:pt x="434" y="73"/>
                    <a:pt x="430" y="74"/>
                  </a:cubicBezTo>
                  <a:cubicBezTo>
                    <a:pt x="402" y="77"/>
                    <a:pt x="374" y="83"/>
                    <a:pt x="347" y="93"/>
                  </a:cubicBezTo>
                  <a:cubicBezTo>
                    <a:pt x="344" y="94"/>
                    <a:pt x="342" y="93"/>
                    <a:pt x="340" y="90"/>
                  </a:cubicBezTo>
                  <a:cubicBezTo>
                    <a:pt x="333" y="74"/>
                    <a:pt x="325" y="59"/>
                    <a:pt x="318" y="44"/>
                  </a:cubicBezTo>
                  <a:cubicBezTo>
                    <a:pt x="314" y="34"/>
                    <a:pt x="305" y="32"/>
                    <a:pt x="297" y="35"/>
                  </a:cubicBezTo>
                  <a:cubicBezTo>
                    <a:pt x="279" y="44"/>
                    <a:pt x="260" y="53"/>
                    <a:pt x="242" y="62"/>
                  </a:cubicBezTo>
                  <a:cubicBezTo>
                    <a:pt x="233" y="67"/>
                    <a:pt x="232" y="74"/>
                    <a:pt x="236" y="83"/>
                  </a:cubicBezTo>
                  <a:cubicBezTo>
                    <a:pt x="242" y="96"/>
                    <a:pt x="248" y="109"/>
                    <a:pt x="254" y="123"/>
                  </a:cubicBezTo>
                  <a:cubicBezTo>
                    <a:pt x="256" y="126"/>
                    <a:pt x="258" y="130"/>
                    <a:pt x="260" y="134"/>
                  </a:cubicBezTo>
                  <a:cubicBezTo>
                    <a:pt x="233" y="151"/>
                    <a:pt x="209" y="171"/>
                    <a:pt x="186" y="193"/>
                  </a:cubicBezTo>
                  <a:cubicBezTo>
                    <a:pt x="171" y="181"/>
                    <a:pt x="156" y="169"/>
                    <a:pt x="142" y="158"/>
                  </a:cubicBezTo>
                  <a:cubicBezTo>
                    <a:pt x="135" y="152"/>
                    <a:pt x="126" y="152"/>
                    <a:pt x="121" y="159"/>
                  </a:cubicBezTo>
                  <a:cubicBezTo>
                    <a:pt x="107" y="175"/>
                    <a:pt x="94" y="192"/>
                    <a:pt x="81" y="209"/>
                  </a:cubicBezTo>
                  <a:cubicBezTo>
                    <a:pt x="76" y="215"/>
                    <a:pt x="78" y="223"/>
                    <a:pt x="85" y="228"/>
                  </a:cubicBezTo>
                  <a:cubicBezTo>
                    <a:pt x="98" y="239"/>
                    <a:pt x="111" y="250"/>
                    <a:pt x="125" y="261"/>
                  </a:cubicBezTo>
                  <a:lnTo>
                    <a:pt x="128" y="264"/>
                  </a:lnTo>
                  <a:cubicBezTo>
                    <a:pt x="121" y="278"/>
                    <a:pt x="113" y="292"/>
                    <a:pt x="106" y="306"/>
                  </a:cubicBezTo>
                  <a:cubicBezTo>
                    <a:pt x="99" y="320"/>
                    <a:pt x="94" y="334"/>
                    <a:pt x="87" y="349"/>
                  </a:cubicBezTo>
                  <a:lnTo>
                    <a:pt x="83" y="348"/>
                  </a:lnTo>
                  <a:cubicBezTo>
                    <a:pt x="66" y="345"/>
                    <a:pt x="50" y="341"/>
                    <a:pt x="33" y="337"/>
                  </a:cubicBezTo>
                  <a:cubicBezTo>
                    <a:pt x="23" y="335"/>
                    <a:pt x="17" y="339"/>
                    <a:pt x="14" y="348"/>
                  </a:cubicBezTo>
                  <a:cubicBezTo>
                    <a:pt x="12" y="355"/>
                    <a:pt x="10" y="362"/>
                    <a:pt x="8" y="370"/>
                  </a:cubicBezTo>
                  <a:cubicBezTo>
                    <a:pt x="5" y="382"/>
                    <a:pt x="3" y="395"/>
                    <a:pt x="0" y="408"/>
                  </a:cubicBezTo>
                  <a:lnTo>
                    <a:pt x="0" y="414"/>
                  </a:lnTo>
                  <a:cubicBezTo>
                    <a:pt x="2" y="422"/>
                    <a:pt x="8" y="425"/>
                    <a:pt x="15" y="427"/>
                  </a:cubicBezTo>
                  <a:cubicBezTo>
                    <a:pt x="25" y="428"/>
                    <a:pt x="34" y="431"/>
                    <a:pt x="44" y="433"/>
                  </a:cubicBezTo>
                  <a:cubicBezTo>
                    <a:pt x="52" y="435"/>
                    <a:pt x="60" y="437"/>
                    <a:pt x="66" y="439"/>
                  </a:cubicBezTo>
                  <a:lnTo>
                    <a:pt x="66" y="533"/>
                  </a:lnTo>
                  <a:cubicBezTo>
                    <a:pt x="66" y="533"/>
                    <a:pt x="64" y="534"/>
                    <a:pt x="62" y="534"/>
                  </a:cubicBezTo>
                  <a:cubicBezTo>
                    <a:pt x="47" y="538"/>
                    <a:pt x="31" y="542"/>
                    <a:pt x="15" y="545"/>
                  </a:cubicBezTo>
                  <a:cubicBezTo>
                    <a:pt x="8" y="547"/>
                    <a:pt x="3" y="550"/>
                    <a:pt x="0" y="557"/>
                  </a:cubicBezTo>
                  <a:lnTo>
                    <a:pt x="0" y="564"/>
                  </a:lnTo>
                  <a:lnTo>
                    <a:pt x="1" y="568"/>
                  </a:lnTo>
                  <a:cubicBezTo>
                    <a:pt x="5" y="586"/>
                    <a:pt x="9" y="604"/>
                    <a:pt x="14" y="622"/>
                  </a:cubicBezTo>
                  <a:cubicBezTo>
                    <a:pt x="16" y="633"/>
                    <a:pt x="23" y="637"/>
                    <a:pt x="34" y="634"/>
                  </a:cubicBezTo>
                  <a:cubicBezTo>
                    <a:pt x="40" y="633"/>
                    <a:pt x="46" y="632"/>
                    <a:pt x="53" y="630"/>
                  </a:cubicBezTo>
                  <a:cubicBezTo>
                    <a:pt x="64" y="628"/>
                    <a:pt x="76" y="625"/>
                    <a:pt x="88" y="623"/>
                  </a:cubicBezTo>
                  <a:cubicBezTo>
                    <a:pt x="99" y="653"/>
                    <a:pt x="112" y="681"/>
                    <a:pt x="129" y="707"/>
                  </a:cubicBezTo>
                  <a:cubicBezTo>
                    <a:pt x="114" y="720"/>
                    <a:pt x="99" y="731"/>
                    <a:pt x="85" y="743"/>
                  </a:cubicBezTo>
                  <a:cubicBezTo>
                    <a:pt x="78" y="749"/>
                    <a:pt x="77" y="756"/>
                    <a:pt x="82" y="764"/>
                  </a:cubicBezTo>
                  <a:cubicBezTo>
                    <a:pt x="83" y="767"/>
                    <a:pt x="86" y="770"/>
                    <a:pt x="88" y="773"/>
                  </a:cubicBezTo>
                  <a:cubicBezTo>
                    <a:pt x="98" y="786"/>
                    <a:pt x="109" y="799"/>
                    <a:pt x="119" y="812"/>
                  </a:cubicBezTo>
                  <a:cubicBezTo>
                    <a:pt x="126" y="820"/>
                    <a:pt x="134" y="820"/>
                    <a:pt x="142" y="814"/>
                  </a:cubicBezTo>
                  <a:lnTo>
                    <a:pt x="158" y="802"/>
                  </a:lnTo>
                  <a:cubicBezTo>
                    <a:pt x="167" y="794"/>
                    <a:pt x="177" y="787"/>
                    <a:pt x="186" y="780"/>
                  </a:cubicBezTo>
                  <a:cubicBezTo>
                    <a:pt x="198" y="790"/>
                    <a:pt x="209" y="801"/>
                    <a:pt x="221" y="810"/>
                  </a:cubicBezTo>
                  <a:cubicBezTo>
                    <a:pt x="234" y="820"/>
                    <a:pt x="247" y="829"/>
                    <a:pt x="259" y="838"/>
                  </a:cubicBezTo>
                  <a:lnTo>
                    <a:pt x="258" y="842"/>
                  </a:lnTo>
                  <a:cubicBezTo>
                    <a:pt x="250" y="858"/>
                    <a:pt x="243" y="873"/>
                    <a:pt x="236" y="889"/>
                  </a:cubicBezTo>
                  <a:cubicBezTo>
                    <a:pt x="232" y="897"/>
                    <a:pt x="233" y="905"/>
                    <a:pt x="241" y="909"/>
                  </a:cubicBezTo>
                  <a:cubicBezTo>
                    <a:pt x="260" y="919"/>
                    <a:pt x="279" y="928"/>
                    <a:pt x="298" y="936"/>
                  </a:cubicBezTo>
                  <a:cubicBezTo>
                    <a:pt x="307" y="940"/>
                    <a:pt x="313" y="937"/>
                    <a:pt x="318" y="929"/>
                  </a:cubicBezTo>
                  <a:lnTo>
                    <a:pt x="331" y="901"/>
                  </a:lnTo>
                  <a:cubicBezTo>
                    <a:pt x="335" y="893"/>
                    <a:pt x="339" y="886"/>
                    <a:pt x="343" y="878"/>
                  </a:cubicBezTo>
                  <a:cubicBezTo>
                    <a:pt x="371" y="888"/>
                    <a:pt x="399" y="894"/>
                    <a:pt x="429" y="898"/>
                  </a:cubicBezTo>
                  <a:cubicBezTo>
                    <a:pt x="431" y="898"/>
                    <a:pt x="433" y="899"/>
                    <a:pt x="435" y="899"/>
                  </a:cubicBezTo>
                  <a:lnTo>
                    <a:pt x="435" y="954"/>
                  </a:lnTo>
                  <a:cubicBezTo>
                    <a:pt x="435" y="965"/>
                    <a:pt x="439" y="970"/>
                    <a:pt x="450" y="971"/>
                  </a:cubicBezTo>
                  <a:cubicBezTo>
                    <a:pt x="470" y="971"/>
                    <a:pt x="491" y="971"/>
                    <a:pt x="512" y="971"/>
                  </a:cubicBezTo>
                  <a:cubicBezTo>
                    <a:pt x="514" y="971"/>
                    <a:pt x="516" y="970"/>
                    <a:pt x="517" y="970"/>
                  </a:cubicBezTo>
                  <a:cubicBezTo>
                    <a:pt x="522" y="968"/>
                    <a:pt x="525" y="964"/>
                    <a:pt x="525" y="958"/>
                  </a:cubicBezTo>
                  <a:lnTo>
                    <a:pt x="526" y="955"/>
                  </a:lnTo>
                  <a:cubicBezTo>
                    <a:pt x="526" y="944"/>
                    <a:pt x="526" y="933"/>
                    <a:pt x="526" y="922"/>
                  </a:cubicBezTo>
                  <a:cubicBezTo>
                    <a:pt x="526" y="916"/>
                    <a:pt x="526" y="910"/>
                    <a:pt x="526" y="903"/>
                  </a:cubicBezTo>
                  <a:cubicBezTo>
                    <a:pt x="526" y="902"/>
                    <a:pt x="526" y="900"/>
                    <a:pt x="526" y="899"/>
                  </a:cubicBezTo>
                  <a:cubicBezTo>
                    <a:pt x="531" y="898"/>
                    <a:pt x="536" y="897"/>
                    <a:pt x="541" y="897"/>
                  </a:cubicBezTo>
                  <a:cubicBezTo>
                    <a:pt x="567" y="893"/>
                    <a:pt x="593" y="887"/>
                    <a:pt x="618" y="878"/>
                  </a:cubicBezTo>
                  <a:cubicBezTo>
                    <a:pt x="619" y="879"/>
                    <a:pt x="619" y="880"/>
                    <a:pt x="620" y="882"/>
                  </a:cubicBezTo>
                  <a:cubicBezTo>
                    <a:pt x="627" y="897"/>
                    <a:pt x="635" y="912"/>
                    <a:pt x="642" y="927"/>
                  </a:cubicBezTo>
                  <a:cubicBezTo>
                    <a:pt x="647" y="936"/>
                    <a:pt x="652" y="939"/>
                    <a:pt x="659" y="937"/>
                  </a:cubicBezTo>
                  <a:cubicBezTo>
                    <a:pt x="661" y="937"/>
                    <a:pt x="663" y="937"/>
                    <a:pt x="664" y="936"/>
                  </a:cubicBezTo>
                  <a:cubicBezTo>
                    <a:pt x="673" y="932"/>
                    <a:pt x="682" y="928"/>
                    <a:pt x="691" y="924"/>
                  </a:cubicBezTo>
                  <a:cubicBezTo>
                    <a:pt x="700" y="920"/>
                    <a:pt x="709" y="915"/>
                    <a:pt x="718" y="910"/>
                  </a:cubicBezTo>
                  <a:cubicBezTo>
                    <a:pt x="727" y="905"/>
                    <a:pt x="729" y="898"/>
                    <a:pt x="725" y="889"/>
                  </a:cubicBezTo>
                  <a:cubicBezTo>
                    <a:pt x="723" y="885"/>
                    <a:pt x="721" y="881"/>
                    <a:pt x="719" y="877"/>
                  </a:cubicBezTo>
                  <a:cubicBezTo>
                    <a:pt x="713" y="864"/>
                    <a:pt x="707" y="851"/>
                    <a:pt x="701" y="838"/>
                  </a:cubicBezTo>
                  <a:cubicBezTo>
                    <a:pt x="714" y="829"/>
                    <a:pt x="727" y="820"/>
                    <a:pt x="739" y="810"/>
                  </a:cubicBezTo>
                  <a:cubicBezTo>
                    <a:pt x="745" y="806"/>
                    <a:pt x="751" y="801"/>
                    <a:pt x="756" y="796"/>
                  </a:cubicBezTo>
                  <a:cubicBezTo>
                    <a:pt x="762" y="791"/>
                    <a:pt x="768" y="785"/>
                    <a:pt x="775" y="780"/>
                  </a:cubicBezTo>
                  <a:lnTo>
                    <a:pt x="779" y="783"/>
                  </a:lnTo>
                  <a:cubicBezTo>
                    <a:pt x="792" y="793"/>
                    <a:pt x="806" y="804"/>
                    <a:pt x="819" y="814"/>
                  </a:cubicBezTo>
                  <a:cubicBezTo>
                    <a:pt x="826" y="820"/>
                    <a:pt x="834" y="820"/>
                    <a:pt x="840" y="813"/>
                  </a:cubicBezTo>
                  <a:cubicBezTo>
                    <a:pt x="842" y="810"/>
                    <a:pt x="844" y="808"/>
                    <a:pt x="846" y="806"/>
                  </a:cubicBezTo>
                  <a:cubicBezTo>
                    <a:pt x="857" y="792"/>
                    <a:pt x="868" y="778"/>
                    <a:pt x="879" y="763"/>
                  </a:cubicBezTo>
                  <a:cubicBezTo>
                    <a:pt x="884" y="758"/>
                    <a:pt x="883" y="752"/>
                    <a:pt x="879" y="747"/>
                  </a:cubicBezTo>
                  <a:lnTo>
                    <a:pt x="876" y="743"/>
                  </a:lnTo>
                  <a:lnTo>
                    <a:pt x="875" y="743"/>
                  </a:lnTo>
                  <a:cubicBezTo>
                    <a:pt x="869" y="738"/>
                    <a:pt x="862" y="732"/>
                    <a:pt x="856" y="727"/>
                  </a:cubicBezTo>
                  <a:cubicBezTo>
                    <a:pt x="849" y="722"/>
                    <a:pt x="842" y="716"/>
                    <a:pt x="835" y="710"/>
                  </a:cubicBezTo>
                  <a:lnTo>
                    <a:pt x="832" y="707"/>
                  </a:lnTo>
                  <a:cubicBezTo>
                    <a:pt x="836" y="701"/>
                    <a:pt x="839" y="695"/>
                    <a:pt x="843" y="689"/>
                  </a:cubicBezTo>
                  <a:cubicBezTo>
                    <a:pt x="845" y="685"/>
                    <a:pt x="846" y="682"/>
                    <a:pt x="848" y="679"/>
                  </a:cubicBezTo>
                  <a:cubicBezTo>
                    <a:pt x="858" y="661"/>
                    <a:pt x="866" y="642"/>
                    <a:pt x="873" y="623"/>
                  </a:cubicBezTo>
                  <a:cubicBezTo>
                    <a:pt x="887" y="626"/>
                    <a:pt x="902" y="629"/>
                    <a:pt x="916" y="632"/>
                  </a:cubicBezTo>
                  <a:cubicBezTo>
                    <a:pt x="920" y="633"/>
                    <a:pt x="924" y="634"/>
                    <a:pt x="928" y="635"/>
                  </a:cubicBezTo>
                  <a:cubicBezTo>
                    <a:pt x="937" y="637"/>
                    <a:pt x="944" y="633"/>
                    <a:pt x="946" y="624"/>
                  </a:cubicBezTo>
                  <a:cubicBezTo>
                    <a:pt x="948" y="617"/>
                    <a:pt x="950" y="611"/>
                    <a:pt x="952" y="604"/>
                  </a:cubicBezTo>
                  <a:cubicBezTo>
                    <a:pt x="955" y="591"/>
                    <a:pt x="958" y="578"/>
                    <a:pt x="960" y="565"/>
                  </a:cubicBezTo>
                  <a:lnTo>
                    <a:pt x="960" y="556"/>
                  </a:lnTo>
                  <a:cubicBezTo>
                    <a:pt x="957" y="550"/>
                    <a:pt x="952" y="547"/>
                    <a:pt x="945" y="545"/>
                  </a:cubicBezTo>
                  <a:cubicBezTo>
                    <a:pt x="934" y="543"/>
                    <a:pt x="923" y="540"/>
                    <a:pt x="912" y="537"/>
                  </a:cubicBezTo>
                  <a:cubicBezTo>
                    <a:pt x="906" y="536"/>
                    <a:pt x="899" y="534"/>
                    <a:pt x="893" y="533"/>
                  </a:cubicBezTo>
                  <a:cubicBezTo>
                    <a:pt x="894" y="517"/>
                    <a:pt x="895" y="501"/>
                    <a:pt x="895" y="486"/>
                  </a:cubicBezTo>
                  <a:cubicBezTo>
                    <a:pt x="895" y="470"/>
                    <a:pt x="894" y="454"/>
                    <a:pt x="893" y="439"/>
                  </a:cubicBezTo>
                  <a:cubicBezTo>
                    <a:pt x="911" y="435"/>
                    <a:pt x="928" y="430"/>
                    <a:pt x="945" y="427"/>
                  </a:cubicBezTo>
                  <a:cubicBezTo>
                    <a:pt x="952" y="425"/>
                    <a:pt x="958" y="422"/>
                    <a:pt x="960" y="415"/>
                  </a:cubicBezTo>
                </a:path>
              </a:pathLst>
            </a:custGeom>
            <a:solidFill>
              <a:srgbClr val="5853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4">
              <a:extLst>
                <a:ext uri="{FF2B5EF4-FFF2-40B4-BE49-F238E27FC236}">
                  <a16:creationId xmlns:a16="http://schemas.microsoft.com/office/drawing/2014/main" id="{D0136EBD-8E16-F31D-BF3E-F44B661FD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99188" y="2932112"/>
              <a:ext cx="322263" cy="330200"/>
            </a:xfrm>
            <a:custGeom>
              <a:avLst/>
              <a:gdLst>
                <a:gd name="T0" fmla="*/ 319 w 716"/>
                <a:gd name="T1" fmla="*/ 562 h 725"/>
                <a:gd name="T2" fmla="*/ 319 w 716"/>
                <a:gd name="T3" fmla="*/ 562 h 725"/>
                <a:gd name="T4" fmla="*/ 319 w 716"/>
                <a:gd name="T5" fmla="*/ 562 h 725"/>
                <a:gd name="T6" fmla="*/ 319 w 716"/>
                <a:gd name="T7" fmla="*/ 562 h 725"/>
                <a:gd name="T8" fmla="*/ 242 w 716"/>
                <a:gd name="T9" fmla="*/ 529 h 725"/>
                <a:gd name="T10" fmla="*/ 561 w 716"/>
                <a:gd name="T11" fmla="*/ 362 h 725"/>
                <a:gd name="T12" fmla="*/ 705 w 716"/>
                <a:gd name="T13" fmla="*/ 319 h 725"/>
                <a:gd name="T14" fmla="*/ 713 w 716"/>
                <a:gd name="T15" fmla="*/ 290 h 725"/>
                <a:gd name="T16" fmla="*/ 649 w 716"/>
                <a:gd name="T17" fmla="*/ 258 h 725"/>
                <a:gd name="T18" fmla="*/ 629 w 716"/>
                <a:gd name="T19" fmla="*/ 191 h 725"/>
                <a:gd name="T20" fmla="*/ 610 w 716"/>
                <a:gd name="T21" fmla="*/ 118 h 725"/>
                <a:gd name="T22" fmla="*/ 522 w 716"/>
                <a:gd name="T23" fmla="*/ 101 h 725"/>
                <a:gd name="T24" fmla="*/ 513 w 716"/>
                <a:gd name="T25" fmla="*/ 35 h 725"/>
                <a:gd name="T26" fmla="*/ 479 w 716"/>
                <a:gd name="T27" fmla="*/ 33 h 725"/>
                <a:gd name="T28" fmla="*/ 395 w 716"/>
                <a:gd name="T29" fmla="*/ 56 h 725"/>
                <a:gd name="T30" fmla="*/ 381 w 716"/>
                <a:gd name="T31" fmla="*/ 1 h 725"/>
                <a:gd name="T32" fmla="*/ 324 w 716"/>
                <a:gd name="T33" fmla="*/ 14 h 725"/>
                <a:gd name="T34" fmla="*/ 254 w 716"/>
                <a:gd name="T35" fmla="*/ 67 h 725"/>
                <a:gd name="T36" fmla="*/ 176 w 716"/>
                <a:gd name="T37" fmla="*/ 62 h 725"/>
                <a:gd name="T38" fmla="*/ 106 w 716"/>
                <a:gd name="T39" fmla="*/ 118 h 725"/>
                <a:gd name="T40" fmla="*/ 93 w 716"/>
                <a:gd name="T41" fmla="*/ 195 h 725"/>
                <a:gd name="T42" fmla="*/ 62 w 716"/>
                <a:gd name="T43" fmla="*/ 260 h 725"/>
                <a:gd name="T44" fmla="*/ 0 w 716"/>
                <a:gd name="T45" fmla="*/ 305 h 725"/>
                <a:gd name="T46" fmla="*/ 49 w 716"/>
                <a:gd name="T47" fmla="*/ 328 h 725"/>
                <a:gd name="T48" fmla="*/ 41 w 716"/>
                <a:gd name="T49" fmla="*/ 400 h 725"/>
                <a:gd name="T50" fmla="*/ 1 w 716"/>
                <a:gd name="T51" fmla="*/ 424 h 725"/>
                <a:gd name="T52" fmla="*/ 66 w 716"/>
                <a:gd name="T53" fmla="*/ 465 h 725"/>
                <a:gd name="T54" fmla="*/ 65 w 716"/>
                <a:gd name="T55" fmla="*/ 577 h 725"/>
                <a:gd name="T56" fmla="*/ 138 w 716"/>
                <a:gd name="T57" fmla="*/ 582 h 725"/>
                <a:gd name="T58" fmla="*/ 192 w 716"/>
                <a:gd name="T59" fmla="*/ 628 h 725"/>
                <a:gd name="T60" fmla="*/ 177 w 716"/>
                <a:gd name="T61" fmla="*/ 676 h 725"/>
                <a:gd name="T62" fmla="*/ 237 w 716"/>
                <a:gd name="T63" fmla="*/ 693 h 725"/>
                <a:gd name="T64" fmla="*/ 324 w 716"/>
                <a:gd name="T65" fmla="*/ 671 h 725"/>
                <a:gd name="T66" fmla="*/ 379 w 716"/>
                <a:gd name="T67" fmla="*/ 724 h 725"/>
                <a:gd name="T68" fmla="*/ 392 w 716"/>
                <a:gd name="T69" fmla="*/ 674 h 725"/>
                <a:gd name="T70" fmla="*/ 462 w 716"/>
                <a:gd name="T71" fmla="*/ 658 h 725"/>
                <a:gd name="T72" fmla="*/ 503 w 716"/>
                <a:gd name="T73" fmla="*/ 695 h 725"/>
                <a:gd name="T74" fmla="*/ 540 w 716"/>
                <a:gd name="T75" fmla="*/ 663 h 725"/>
                <a:gd name="T76" fmla="*/ 578 w 716"/>
                <a:gd name="T77" fmla="*/ 582 h 725"/>
                <a:gd name="T78" fmla="*/ 648 w 716"/>
                <a:gd name="T79" fmla="*/ 579 h 725"/>
                <a:gd name="T80" fmla="*/ 620 w 716"/>
                <a:gd name="T81" fmla="*/ 528 h 725"/>
                <a:gd name="T82" fmla="*/ 710 w 716"/>
                <a:gd name="T83" fmla="*/ 451 h 725"/>
                <a:gd name="T84" fmla="*/ 680 w 716"/>
                <a:gd name="T85" fmla="*/ 401 h 725"/>
                <a:gd name="T86" fmla="*/ 666 w 716"/>
                <a:gd name="T87" fmla="*/ 328 h 725"/>
                <a:gd name="T88" fmla="*/ 337 w 716"/>
                <a:gd name="T89" fmla="*/ 580 h 725"/>
                <a:gd name="T90" fmla="*/ 337 w 716"/>
                <a:gd name="T91" fmla="*/ 580 h 725"/>
                <a:gd name="T92" fmla="*/ 337 w 716"/>
                <a:gd name="T93" fmla="*/ 580 h 725"/>
                <a:gd name="T94" fmla="*/ 337 w 716"/>
                <a:gd name="T95" fmla="*/ 580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6" h="725"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62" y="566"/>
                  </a:moveTo>
                  <a:cubicBezTo>
                    <a:pt x="354" y="566"/>
                    <a:pt x="346" y="565"/>
                    <a:pt x="339" y="565"/>
                  </a:cubicBezTo>
                  <a:cubicBezTo>
                    <a:pt x="332" y="564"/>
                    <a:pt x="325" y="563"/>
                    <a:pt x="319" y="562"/>
                  </a:cubicBezTo>
                  <a:cubicBezTo>
                    <a:pt x="291" y="556"/>
                    <a:pt x="265" y="545"/>
                    <a:pt x="242" y="529"/>
                  </a:cubicBezTo>
                  <a:cubicBezTo>
                    <a:pt x="190" y="493"/>
                    <a:pt x="155" y="432"/>
                    <a:pt x="155" y="363"/>
                  </a:cubicBezTo>
                  <a:cubicBezTo>
                    <a:pt x="155" y="251"/>
                    <a:pt x="245" y="161"/>
                    <a:pt x="356" y="160"/>
                  </a:cubicBezTo>
                  <a:cubicBezTo>
                    <a:pt x="362" y="160"/>
                    <a:pt x="369" y="160"/>
                    <a:pt x="375" y="161"/>
                  </a:cubicBezTo>
                  <a:cubicBezTo>
                    <a:pt x="479" y="170"/>
                    <a:pt x="561" y="256"/>
                    <a:pt x="561" y="362"/>
                  </a:cubicBezTo>
                  <a:cubicBezTo>
                    <a:pt x="561" y="394"/>
                    <a:pt x="554" y="423"/>
                    <a:pt x="541" y="449"/>
                  </a:cubicBezTo>
                  <a:lnTo>
                    <a:pt x="541" y="449"/>
                  </a:lnTo>
                  <a:cubicBezTo>
                    <a:pt x="509" y="518"/>
                    <a:pt x="440" y="564"/>
                    <a:pt x="362" y="566"/>
                  </a:cubicBezTo>
                  <a:close/>
                  <a:moveTo>
                    <a:pt x="705" y="319"/>
                  </a:moveTo>
                  <a:cubicBezTo>
                    <a:pt x="710" y="318"/>
                    <a:pt x="714" y="315"/>
                    <a:pt x="716" y="310"/>
                  </a:cubicBezTo>
                  <a:lnTo>
                    <a:pt x="716" y="303"/>
                  </a:lnTo>
                  <a:cubicBezTo>
                    <a:pt x="715" y="301"/>
                    <a:pt x="715" y="299"/>
                    <a:pt x="714" y="297"/>
                  </a:cubicBezTo>
                  <a:cubicBezTo>
                    <a:pt x="714" y="294"/>
                    <a:pt x="713" y="292"/>
                    <a:pt x="713" y="290"/>
                  </a:cubicBezTo>
                  <a:cubicBezTo>
                    <a:pt x="710" y="280"/>
                    <a:pt x="708" y="270"/>
                    <a:pt x="705" y="260"/>
                  </a:cubicBezTo>
                  <a:cubicBezTo>
                    <a:pt x="704" y="253"/>
                    <a:pt x="699" y="251"/>
                    <a:pt x="692" y="252"/>
                  </a:cubicBezTo>
                  <a:cubicBezTo>
                    <a:pt x="679" y="255"/>
                    <a:pt x="667" y="257"/>
                    <a:pt x="654" y="260"/>
                  </a:cubicBezTo>
                  <a:cubicBezTo>
                    <a:pt x="651" y="261"/>
                    <a:pt x="650" y="260"/>
                    <a:pt x="649" y="258"/>
                  </a:cubicBezTo>
                  <a:cubicBezTo>
                    <a:pt x="644" y="245"/>
                    <a:pt x="638" y="232"/>
                    <a:pt x="632" y="219"/>
                  </a:cubicBezTo>
                  <a:cubicBezTo>
                    <a:pt x="629" y="212"/>
                    <a:pt x="624" y="205"/>
                    <a:pt x="620" y="198"/>
                  </a:cubicBezTo>
                  <a:lnTo>
                    <a:pt x="623" y="195"/>
                  </a:lnTo>
                  <a:cubicBezTo>
                    <a:pt x="625" y="194"/>
                    <a:pt x="627" y="192"/>
                    <a:pt x="629" y="191"/>
                  </a:cubicBezTo>
                  <a:cubicBezTo>
                    <a:pt x="637" y="184"/>
                    <a:pt x="645" y="178"/>
                    <a:pt x="653" y="171"/>
                  </a:cubicBezTo>
                  <a:cubicBezTo>
                    <a:pt x="658" y="167"/>
                    <a:pt x="659" y="161"/>
                    <a:pt x="655" y="156"/>
                  </a:cubicBezTo>
                  <a:cubicBezTo>
                    <a:pt x="646" y="144"/>
                    <a:pt x="636" y="131"/>
                    <a:pt x="626" y="119"/>
                  </a:cubicBezTo>
                  <a:cubicBezTo>
                    <a:pt x="622" y="114"/>
                    <a:pt x="616" y="114"/>
                    <a:pt x="610" y="118"/>
                  </a:cubicBezTo>
                  <a:cubicBezTo>
                    <a:pt x="605" y="123"/>
                    <a:pt x="599" y="127"/>
                    <a:pt x="593" y="132"/>
                  </a:cubicBezTo>
                  <a:cubicBezTo>
                    <a:pt x="591" y="134"/>
                    <a:pt x="588" y="136"/>
                    <a:pt x="585" y="138"/>
                  </a:cubicBezTo>
                  <a:cubicBezTo>
                    <a:pt x="583" y="140"/>
                    <a:pt x="580" y="142"/>
                    <a:pt x="577" y="144"/>
                  </a:cubicBezTo>
                  <a:cubicBezTo>
                    <a:pt x="560" y="128"/>
                    <a:pt x="542" y="113"/>
                    <a:pt x="522" y="101"/>
                  </a:cubicBezTo>
                  <a:lnTo>
                    <a:pt x="524" y="97"/>
                  </a:lnTo>
                  <a:cubicBezTo>
                    <a:pt x="529" y="86"/>
                    <a:pt x="535" y="74"/>
                    <a:pt x="540" y="63"/>
                  </a:cubicBezTo>
                  <a:cubicBezTo>
                    <a:pt x="544" y="56"/>
                    <a:pt x="542" y="51"/>
                    <a:pt x="535" y="47"/>
                  </a:cubicBezTo>
                  <a:cubicBezTo>
                    <a:pt x="528" y="43"/>
                    <a:pt x="521" y="39"/>
                    <a:pt x="513" y="35"/>
                  </a:cubicBezTo>
                  <a:lnTo>
                    <a:pt x="513" y="35"/>
                  </a:lnTo>
                  <a:cubicBezTo>
                    <a:pt x="507" y="32"/>
                    <a:pt x="501" y="30"/>
                    <a:pt x="494" y="27"/>
                  </a:cubicBezTo>
                  <a:cubicBezTo>
                    <a:pt x="488" y="24"/>
                    <a:pt x="483" y="26"/>
                    <a:pt x="479" y="33"/>
                  </a:cubicBezTo>
                  <a:lnTo>
                    <a:pt x="479" y="33"/>
                  </a:lnTo>
                  <a:cubicBezTo>
                    <a:pt x="474" y="44"/>
                    <a:pt x="468" y="56"/>
                    <a:pt x="463" y="67"/>
                  </a:cubicBezTo>
                  <a:cubicBezTo>
                    <a:pt x="461" y="70"/>
                    <a:pt x="460" y="71"/>
                    <a:pt x="456" y="69"/>
                  </a:cubicBezTo>
                  <a:cubicBezTo>
                    <a:pt x="437" y="63"/>
                    <a:pt x="416" y="58"/>
                    <a:pt x="395" y="56"/>
                  </a:cubicBezTo>
                  <a:lnTo>
                    <a:pt x="395" y="56"/>
                  </a:lnTo>
                  <a:cubicBezTo>
                    <a:pt x="393" y="55"/>
                    <a:pt x="392" y="54"/>
                    <a:pt x="392" y="52"/>
                  </a:cubicBezTo>
                  <a:lnTo>
                    <a:pt x="392" y="41"/>
                  </a:lnTo>
                  <a:cubicBezTo>
                    <a:pt x="392" y="32"/>
                    <a:pt x="392" y="22"/>
                    <a:pt x="392" y="13"/>
                  </a:cubicBezTo>
                  <a:cubicBezTo>
                    <a:pt x="392" y="6"/>
                    <a:pt x="388" y="2"/>
                    <a:pt x="381" y="1"/>
                  </a:cubicBezTo>
                  <a:cubicBezTo>
                    <a:pt x="379" y="1"/>
                    <a:pt x="376" y="1"/>
                    <a:pt x="374" y="0"/>
                  </a:cubicBezTo>
                  <a:lnTo>
                    <a:pt x="342" y="0"/>
                  </a:lnTo>
                  <a:cubicBezTo>
                    <a:pt x="340" y="1"/>
                    <a:pt x="338" y="1"/>
                    <a:pt x="336" y="1"/>
                  </a:cubicBezTo>
                  <a:cubicBezTo>
                    <a:pt x="328" y="2"/>
                    <a:pt x="324" y="6"/>
                    <a:pt x="324" y="14"/>
                  </a:cubicBezTo>
                  <a:lnTo>
                    <a:pt x="324" y="52"/>
                  </a:lnTo>
                  <a:cubicBezTo>
                    <a:pt x="324" y="54"/>
                    <a:pt x="323" y="55"/>
                    <a:pt x="321" y="56"/>
                  </a:cubicBezTo>
                  <a:cubicBezTo>
                    <a:pt x="300" y="58"/>
                    <a:pt x="279" y="63"/>
                    <a:pt x="259" y="70"/>
                  </a:cubicBezTo>
                  <a:cubicBezTo>
                    <a:pt x="256" y="71"/>
                    <a:pt x="255" y="70"/>
                    <a:pt x="254" y="67"/>
                  </a:cubicBezTo>
                  <a:cubicBezTo>
                    <a:pt x="248" y="56"/>
                    <a:pt x="242" y="45"/>
                    <a:pt x="237" y="33"/>
                  </a:cubicBezTo>
                  <a:cubicBezTo>
                    <a:pt x="234" y="26"/>
                    <a:pt x="227" y="25"/>
                    <a:pt x="222" y="27"/>
                  </a:cubicBezTo>
                  <a:cubicBezTo>
                    <a:pt x="208" y="34"/>
                    <a:pt x="194" y="40"/>
                    <a:pt x="180" y="47"/>
                  </a:cubicBezTo>
                  <a:cubicBezTo>
                    <a:pt x="174" y="50"/>
                    <a:pt x="173" y="56"/>
                    <a:pt x="176" y="62"/>
                  </a:cubicBezTo>
                  <a:cubicBezTo>
                    <a:pt x="180" y="72"/>
                    <a:pt x="185" y="82"/>
                    <a:pt x="190" y="92"/>
                  </a:cubicBezTo>
                  <a:cubicBezTo>
                    <a:pt x="191" y="95"/>
                    <a:pt x="192" y="98"/>
                    <a:pt x="194" y="101"/>
                  </a:cubicBezTo>
                  <a:cubicBezTo>
                    <a:pt x="173" y="113"/>
                    <a:pt x="155" y="128"/>
                    <a:pt x="139" y="144"/>
                  </a:cubicBezTo>
                  <a:cubicBezTo>
                    <a:pt x="128" y="135"/>
                    <a:pt x="117" y="127"/>
                    <a:pt x="106" y="118"/>
                  </a:cubicBezTo>
                  <a:cubicBezTo>
                    <a:pt x="100" y="114"/>
                    <a:pt x="94" y="114"/>
                    <a:pt x="90" y="119"/>
                  </a:cubicBezTo>
                  <a:cubicBezTo>
                    <a:pt x="80" y="131"/>
                    <a:pt x="70" y="144"/>
                    <a:pt x="61" y="156"/>
                  </a:cubicBezTo>
                  <a:cubicBezTo>
                    <a:pt x="57" y="161"/>
                    <a:pt x="58" y="167"/>
                    <a:pt x="63" y="171"/>
                  </a:cubicBezTo>
                  <a:cubicBezTo>
                    <a:pt x="73" y="179"/>
                    <a:pt x="83" y="187"/>
                    <a:pt x="93" y="195"/>
                  </a:cubicBezTo>
                  <a:lnTo>
                    <a:pt x="96" y="198"/>
                  </a:lnTo>
                  <a:cubicBezTo>
                    <a:pt x="90" y="208"/>
                    <a:pt x="84" y="218"/>
                    <a:pt x="79" y="229"/>
                  </a:cubicBezTo>
                  <a:cubicBezTo>
                    <a:pt x="74" y="239"/>
                    <a:pt x="70" y="250"/>
                    <a:pt x="65" y="261"/>
                  </a:cubicBezTo>
                  <a:lnTo>
                    <a:pt x="62" y="260"/>
                  </a:lnTo>
                  <a:cubicBezTo>
                    <a:pt x="49" y="258"/>
                    <a:pt x="37" y="255"/>
                    <a:pt x="24" y="252"/>
                  </a:cubicBezTo>
                  <a:cubicBezTo>
                    <a:pt x="17" y="251"/>
                    <a:pt x="12" y="253"/>
                    <a:pt x="10" y="260"/>
                  </a:cubicBezTo>
                  <a:cubicBezTo>
                    <a:pt x="9" y="266"/>
                    <a:pt x="7" y="271"/>
                    <a:pt x="6" y="276"/>
                  </a:cubicBezTo>
                  <a:cubicBezTo>
                    <a:pt x="4" y="286"/>
                    <a:pt x="2" y="295"/>
                    <a:pt x="0" y="305"/>
                  </a:cubicBezTo>
                  <a:lnTo>
                    <a:pt x="0" y="310"/>
                  </a:lnTo>
                  <a:cubicBezTo>
                    <a:pt x="2" y="315"/>
                    <a:pt x="6" y="318"/>
                    <a:pt x="11" y="319"/>
                  </a:cubicBezTo>
                  <a:cubicBezTo>
                    <a:pt x="18" y="320"/>
                    <a:pt x="26" y="322"/>
                    <a:pt x="33" y="324"/>
                  </a:cubicBezTo>
                  <a:cubicBezTo>
                    <a:pt x="39" y="325"/>
                    <a:pt x="44" y="326"/>
                    <a:pt x="49" y="328"/>
                  </a:cubicBezTo>
                  <a:lnTo>
                    <a:pt x="49" y="398"/>
                  </a:lnTo>
                  <a:lnTo>
                    <a:pt x="49" y="398"/>
                  </a:lnTo>
                  <a:lnTo>
                    <a:pt x="46" y="399"/>
                  </a:lnTo>
                  <a:cubicBezTo>
                    <a:pt x="45" y="399"/>
                    <a:pt x="43" y="400"/>
                    <a:pt x="41" y="400"/>
                  </a:cubicBezTo>
                  <a:cubicBezTo>
                    <a:pt x="31" y="403"/>
                    <a:pt x="21" y="405"/>
                    <a:pt x="11" y="407"/>
                  </a:cubicBezTo>
                  <a:cubicBezTo>
                    <a:pt x="6" y="408"/>
                    <a:pt x="2" y="411"/>
                    <a:pt x="0" y="416"/>
                  </a:cubicBezTo>
                  <a:lnTo>
                    <a:pt x="0" y="421"/>
                  </a:lnTo>
                  <a:lnTo>
                    <a:pt x="1" y="424"/>
                  </a:lnTo>
                  <a:cubicBezTo>
                    <a:pt x="4" y="437"/>
                    <a:pt x="7" y="451"/>
                    <a:pt x="10" y="465"/>
                  </a:cubicBezTo>
                  <a:cubicBezTo>
                    <a:pt x="12" y="473"/>
                    <a:pt x="17" y="475"/>
                    <a:pt x="25" y="474"/>
                  </a:cubicBezTo>
                  <a:cubicBezTo>
                    <a:pt x="30" y="473"/>
                    <a:pt x="35" y="472"/>
                    <a:pt x="39" y="471"/>
                  </a:cubicBezTo>
                  <a:cubicBezTo>
                    <a:pt x="48" y="469"/>
                    <a:pt x="57" y="467"/>
                    <a:pt x="66" y="465"/>
                  </a:cubicBezTo>
                  <a:cubicBezTo>
                    <a:pt x="73" y="487"/>
                    <a:pt x="84" y="508"/>
                    <a:pt x="96" y="528"/>
                  </a:cubicBezTo>
                  <a:cubicBezTo>
                    <a:pt x="85" y="537"/>
                    <a:pt x="74" y="546"/>
                    <a:pt x="63" y="555"/>
                  </a:cubicBezTo>
                  <a:cubicBezTo>
                    <a:pt x="58" y="559"/>
                    <a:pt x="57" y="565"/>
                    <a:pt x="61" y="570"/>
                  </a:cubicBezTo>
                  <a:cubicBezTo>
                    <a:pt x="62" y="572"/>
                    <a:pt x="64" y="575"/>
                    <a:pt x="65" y="577"/>
                  </a:cubicBezTo>
                  <a:cubicBezTo>
                    <a:pt x="73" y="586"/>
                    <a:pt x="81" y="596"/>
                    <a:pt x="89" y="606"/>
                  </a:cubicBezTo>
                  <a:cubicBezTo>
                    <a:pt x="94" y="612"/>
                    <a:pt x="100" y="612"/>
                    <a:pt x="106" y="607"/>
                  </a:cubicBezTo>
                  <a:cubicBezTo>
                    <a:pt x="110" y="604"/>
                    <a:pt x="114" y="601"/>
                    <a:pt x="118" y="598"/>
                  </a:cubicBezTo>
                  <a:cubicBezTo>
                    <a:pt x="125" y="593"/>
                    <a:pt x="132" y="587"/>
                    <a:pt x="138" y="582"/>
                  </a:cubicBezTo>
                  <a:cubicBezTo>
                    <a:pt x="147" y="590"/>
                    <a:pt x="156" y="598"/>
                    <a:pt x="165" y="605"/>
                  </a:cubicBezTo>
                  <a:cubicBezTo>
                    <a:pt x="171" y="609"/>
                    <a:pt x="176" y="613"/>
                    <a:pt x="182" y="618"/>
                  </a:cubicBezTo>
                  <a:cubicBezTo>
                    <a:pt x="186" y="620"/>
                    <a:pt x="190" y="623"/>
                    <a:pt x="193" y="626"/>
                  </a:cubicBezTo>
                  <a:lnTo>
                    <a:pt x="192" y="628"/>
                  </a:lnTo>
                  <a:cubicBezTo>
                    <a:pt x="188" y="638"/>
                    <a:pt x="183" y="648"/>
                    <a:pt x="179" y="657"/>
                  </a:cubicBezTo>
                  <a:cubicBezTo>
                    <a:pt x="178" y="659"/>
                    <a:pt x="177" y="661"/>
                    <a:pt x="176" y="664"/>
                  </a:cubicBezTo>
                  <a:cubicBezTo>
                    <a:pt x="173" y="668"/>
                    <a:pt x="174" y="673"/>
                    <a:pt x="177" y="676"/>
                  </a:cubicBezTo>
                  <a:lnTo>
                    <a:pt x="177" y="676"/>
                  </a:lnTo>
                  <a:lnTo>
                    <a:pt x="177" y="677"/>
                  </a:lnTo>
                  <a:lnTo>
                    <a:pt x="180" y="678"/>
                  </a:lnTo>
                  <a:cubicBezTo>
                    <a:pt x="194" y="685"/>
                    <a:pt x="208" y="692"/>
                    <a:pt x="222" y="699"/>
                  </a:cubicBezTo>
                  <a:cubicBezTo>
                    <a:pt x="228" y="702"/>
                    <a:pt x="234" y="699"/>
                    <a:pt x="237" y="693"/>
                  </a:cubicBezTo>
                  <a:cubicBezTo>
                    <a:pt x="240" y="686"/>
                    <a:pt x="243" y="679"/>
                    <a:pt x="247" y="672"/>
                  </a:cubicBezTo>
                  <a:cubicBezTo>
                    <a:pt x="249" y="669"/>
                    <a:pt x="251" y="665"/>
                    <a:pt x="253" y="661"/>
                  </a:cubicBezTo>
                  <a:cubicBezTo>
                    <a:pt x="253" y="659"/>
                    <a:pt x="254" y="657"/>
                    <a:pt x="255" y="655"/>
                  </a:cubicBezTo>
                  <a:cubicBezTo>
                    <a:pt x="278" y="663"/>
                    <a:pt x="300" y="668"/>
                    <a:pt x="324" y="671"/>
                  </a:cubicBezTo>
                  <a:lnTo>
                    <a:pt x="324" y="712"/>
                  </a:lnTo>
                  <a:cubicBezTo>
                    <a:pt x="324" y="714"/>
                    <a:pt x="324" y="715"/>
                    <a:pt x="325" y="717"/>
                  </a:cubicBezTo>
                  <a:cubicBezTo>
                    <a:pt x="326" y="722"/>
                    <a:pt x="329" y="724"/>
                    <a:pt x="335" y="724"/>
                  </a:cubicBezTo>
                  <a:cubicBezTo>
                    <a:pt x="350" y="725"/>
                    <a:pt x="364" y="725"/>
                    <a:pt x="379" y="724"/>
                  </a:cubicBezTo>
                  <a:lnTo>
                    <a:pt x="381" y="724"/>
                  </a:lnTo>
                  <a:cubicBezTo>
                    <a:pt x="385" y="724"/>
                    <a:pt x="388" y="723"/>
                    <a:pt x="389" y="721"/>
                  </a:cubicBezTo>
                  <a:cubicBezTo>
                    <a:pt x="391" y="719"/>
                    <a:pt x="392" y="716"/>
                    <a:pt x="392" y="713"/>
                  </a:cubicBezTo>
                  <a:cubicBezTo>
                    <a:pt x="392" y="700"/>
                    <a:pt x="392" y="687"/>
                    <a:pt x="392" y="674"/>
                  </a:cubicBezTo>
                  <a:lnTo>
                    <a:pt x="392" y="671"/>
                  </a:lnTo>
                  <a:cubicBezTo>
                    <a:pt x="403" y="669"/>
                    <a:pt x="413" y="668"/>
                    <a:pt x="422" y="666"/>
                  </a:cubicBezTo>
                  <a:cubicBezTo>
                    <a:pt x="435" y="663"/>
                    <a:pt x="448" y="659"/>
                    <a:pt x="461" y="655"/>
                  </a:cubicBezTo>
                  <a:lnTo>
                    <a:pt x="462" y="658"/>
                  </a:lnTo>
                  <a:cubicBezTo>
                    <a:pt x="468" y="669"/>
                    <a:pt x="473" y="681"/>
                    <a:pt x="479" y="692"/>
                  </a:cubicBezTo>
                  <a:cubicBezTo>
                    <a:pt x="480" y="695"/>
                    <a:pt x="482" y="697"/>
                    <a:pt x="484" y="698"/>
                  </a:cubicBezTo>
                  <a:cubicBezTo>
                    <a:pt x="487" y="700"/>
                    <a:pt x="490" y="700"/>
                    <a:pt x="495" y="698"/>
                  </a:cubicBezTo>
                  <a:cubicBezTo>
                    <a:pt x="498" y="697"/>
                    <a:pt x="500" y="696"/>
                    <a:pt x="503" y="695"/>
                  </a:cubicBezTo>
                  <a:cubicBezTo>
                    <a:pt x="507" y="693"/>
                    <a:pt x="511" y="692"/>
                    <a:pt x="515" y="690"/>
                  </a:cubicBezTo>
                  <a:cubicBezTo>
                    <a:pt x="519" y="688"/>
                    <a:pt x="523" y="685"/>
                    <a:pt x="527" y="683"/>
                  </a:cubicBezTo>
                  <a:cubicBezTo>
                    <a:pt x="530" y="682"/>
                    <a:pt x="533" y="680"/>
                    <a:pt x="535" y="679"/>
                  </a:cubicBezTo>
                  <a:cubicBezTo>
                    <a:pt x="542" y="675"/>
                    <a:pt x="543" y="670"/>
                    <a:pt x="540" y="663"/>
                  </a:cubicBezTo>
                  <a:cubicBezTo>
                    <a:pt x="539" y="660"/>
                    <a:pt x="538" y="657"/>
                    <a:pt x="536" y="654"/>
                  </a:cubicBezTo>
                  <a:cubicBezTo>
                    <a:pt x="532" y="645"/>
                    <a:pt x="527" y="635"/>
                    <a:pt x="523" y="626"/>
                  </a:cubicBezTo>
                  <a:cubicBezTo>
                    <a:pt x="532" y="619"/>
                    <a:pt x="542" y="612"/>
                    <a:pt x="551" y="605"/>
                  </a:cubicBezTo>
                  <a:cubicBezTo>
                    <a:pt x="560" y="598"/>
                    <a:pt x="569" y="590"/>
                    <a:pt x="578" y="582"/>
                  </a:cubicBezTo>
                  <a:lnTo>
                    <a:pt x="581" y="584"/>
                  </a:lnTo>
                  <a:cubicBezTo>
                    <a:pt x="591" y="592"/>
                    <a:pt x="600" y="600"/>
                    <a:pt x="610" y="607"/>
                  </a:cubicBezTo>
                  <a:cubicBezTo>
                    <a:pt x="616" y="612"/>
                    <a:pt x="622" y="612"/>
                    <a:pt x="626" y="606"/>
                  </a:cubicBezTo>
                  <a:cubicBezTo>
                    <a:pt x="634" y="597"/>
                    <a:pt x="641" y="588"/>
                    <a:pt x="648" y="579"/>
                  </a:cubicBezTo>
                  <a:cubicBezTo>
                    <a:pt x="651" y="576"/>
                    <a:pt x="653" y="573"/>
                    <a:pt x="655" y="570"/>
                  </a:cubicBezTo>
                  <a:cubicBezTo>
                    <a:pt x="659" y="565"/>
                    <a:pt x="658" y="559"/>
                    <a:pt x="653" y="555"/>
                  </a:cubicBezTo>
                  <a:lnTo>
                    <a:pt x="623" y="530"/>
                  </a:lnTo>
                  <a:lnTo>
                    <a:pt x="620" y="528"/>
                  </a:lnTo>
                  <a:cubicBezTo>
                    <a:pt x="633" y="508"/>
                    <a:pt x="643" y="487"/>
                    <a:pt x="650" y="465"/>
                  </a:cubicBezTo>
                  <a:cubicBezTo>
                    <a:pt x="664" y="468"/>
                    <a:pt x="678" y="471"/>
                    <a:pt x="692" y="474"/>
                  </a:cubicBezTo>
                  <a:cubicBezTo>
                    <a:pt x="698" y="475"/>
                    <a:pt x="703" y="472"/>
                    <a:pt x="706" y="466"/>
                  </a:cubicBezTo>
                  <a:cubicBezTo>
                    <a:pt x="707" y="461"/>
                    <a:pt x="708" y="456"/>
                    <a:pt x="710" y="451"/>
                  </a:cubicBezTo>
                  <a:cubicBezTo>
                    <a:pt x="712" y="441"/>
                    <a:pt x="714" y="432"/>
                    <a:pt x="716" y="422"/>
                  </a:cubicBezTo>
                  <a:lnTo>
                    <a:pt x="716" y="415"/>
                  </a:lnTo>
                  <a:cubicBezTo>
                    <a:pt x="714" y="410"/>
                    <a:pt x="710" y="408"/>
                    <a:pt x="705" y="407"/>
                  </a:cubicBezTo>
                  <a:cubicBezTo>
                    <a:pt x="696" y="406"/>
                    <a:pt x="688" y="403"/>
                    <a:pt x="680" y="401"/>
                  </a:cubicBezTo>
                  <a:cubicBezTo>
                    <a:pt x="676" y="400"/>
                    <a:pt x="673" y="400"/>
                    <a:pt x="669" y="399"/>
                  </a:cubicBezTo>
                  <a:lnTo>
                    <a:pt x="666" y="398"/>
                  </a:lnTo>
                  <a:cubicBezTo>
                    <a:pt x="667" y="386"/>
                    <a:pt x="667" y="374"/>
                    <a:pt x="667" y="363"/>
                  </a:cubicBezTo>
                  <a:cubicBezTo>
                    <a:pt x="667" y="351"/>
                    <a:pt x="667" y="339"/>
                    <a:pt x="666" y="328"/>
                  </a:cubicBezTo>
                  <a:cubicBezTo>
                    <a:pt x="678" y="325"/>
                    <a:pt x="689" y="322"/>
                    <a:pt x="701" y="320"/>
                  </a:cubicBezTo>
                  <a:lnTo>
                    <a:pt x="705" y="319"/>
                  </a:ln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  <a:moveTo>
                    <a:pt x="319" y="562"/>
                  </a:moveTo>
                  <a:lnTo>
                    <a:pt x="337" y="580"/>
                  </a:lnTo>
                  <a:lnTo>
                    <a:pt x="339" y="565"/>
                  </a:lnTo>
                  <a:cubicBezTo>
                    <a:pt x="332" y="564"/>
                    <a:pt x="325" y="563"/>
                    <a:pt x="319" y="562"/>
                  </a:cubicBezTo>
                </a:path>
              </a:pathLst>
            </a:custGeom>
            <a:solidFill>
              <a:srgbClr val="8F92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5">
              <a:extLst>
                <a:ext uri="{FF2B5EF4-FFF2-40B4-BE49-F238E27FC236}">
                  <a16:creationId xmlns:a16="http://schemas.microsoft.com/office/drawing/2014/main" id="{121E5ECB-452C-D09D-E9AA-A1D9991708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42038" y="1606550"/>
              <a:ext cx="1423988" cy="1435100"/>
            </a:xfrm>
            <a:custGeom>
              <a:avLst/>
              <a:gdLst>
                <a:gd name="T0" fmla="*/ 621 w 3148"/>
                <a:gd name="T1" fmla="*/ 1718 h 3144"/>
                <a:gd name="T2" fmla="*/ 690 w 3148"/>
                <a:gd name="T3" fmla="*/ 1811 h 3144"/>
                <a:gd name="T4" fmla="*/ 1322 w 3148"/>
                <a:gd name="T5" fmla="*/ 2230 h 3144"/>
                <a:gd name="T6" fmla="*/ 1402 w 3148"/>
                <a:gd name="T7" fmla="*/ 2146 h 3144"/>
                <a:gd name="T8" fmla="*/ 1407 w 3148"/>
                <a:gd name="T9" fmla="*/ 2426 h 3144"/>
                <a:gd name="T10" fmla="*/ 1368 w 3148"/>
                <a:gd name="T11" fmla="*/ 2184 h 3144"/>
                <a:gd name="T12" fmla="*/ 1351 w 3148"/>
                <a:gd name="T13" fmla="*/ 2604 h 3144"/>
                <a:gd name="T14" fmla="*/ 1323 w 3148"/>
                <a:gd name="T15" fmla="*/ 1630 h 3144"/>
                <a:gd name="T16" fmla="*/ 655 w 3148"/>
                <a:gd name="T17" fmla="*/ 1744 h 3144"/>
                <a:gd name="T18" fmla="*/ 753 w 3148"/>
                <a:gd name="T19" fmla="*/ 1854 h 3144"/>
                <a:gd name="T20" fmla="*/ 1418 w 3148"/>
                <a:gd name="T21" fmla="*/ 1808 h 3144"/>
                <a:gd name="T22" fmla="*/ 1386 w 3148"/>
                <a:gd name="T23" fmla="*/ 2411 h 3144"/>
                <a:gd name="T24" fmla="*/ 1374 w 3148"/>
                <a:gd name="T25" fmla="*/ 1698 h 3144"/>
                <a:gd name="T26" fmla="*/ 635 w 3148"/>
                <a:gd name="T27" fmla="*/ 1727 h 3144"/>
                <a:gd name="T28" fmla="*/ 690 w 3148"/>
                <a:gd name="T29" fmla="*/ 1812 h 3144"/>
                <a:gd name="T30" fmla="*/ 1480 w 3148"/>
                <a:gd name="T31" fmla="*/ 1745 h 3144"/>
                <a:gd name="T32" fmla="*/ 1521 w 3148"/>
                <a:gd name="T33" fmla="*/ 1962 h 3144"/>
                <a:gd name="T34" fmla="*/ 1322 w 3148"/>
                <a:gd name="T35" fmla="*/ 2230 h 3144"/>
                <a:gd name="T36" fmla="*/ 847 w 3148"/>
                <a:gd name="T37" fmla="*/ 1659 h 3144"/>
                <a:gd name="T38" fmla="*/ 687 w 3148"/>
                <a:gd name="T39" fmla="*/ 1798 h 3144"/>
                <a:gd name="T40" fmla="*/ 1751 w 3148"/>
                <a:gd name="T41" fmla="*/ 1291 h 3144"/>
                <a:gd name="T42" fmla="*/ 1853 w 3148"/>
                <a:gd name="T43" fmla="*/ 1597 h 3144"/>
                <a:gd name="T44" fmla="*/ 2270 w 3148"/>
                <a:gd name="T45" fmla="*/ 2437 h 3144"/>
                <a:gd name="T46" fmla="*/ 451 w 3148"/>
                <a:gd name="T47" fmla="*/ 1925 h 3144"/>
                <a:gd name="T48" fmla="*/ 1279 w 3148"/>
                <a:gd name="T49" fmla="*/ 2267 h 3144"/>
                <a:gd name="T50" fmla="*/ 1302 w 3148"/>
                <a:gd name="T51" fmla="*/ 1552 h 3144"/>
                <a:gd name="T52" fmla="*/ 1437 w 3148"/>
                <a:gd name="T53" fmla="*/ 1302 h 3144"/>
                <a:gd name="T54" fmla="*/ 1851 w 3148"/>
                <a:gd name="T55" fmla="*/ 960 h 3144"/>
                <a:gd name="T56" fmla="*/ 2926 w 3148"/>
                <a:gd name="T57" fmla="*/ 909 h 3144"/>
                <a:gd name="T58" fmla="*/ 2300 w 3148"/>
                <a:gd name="T59" fmla="*/ 323 h 3144"/>
                <a:gd name="T60" fmla="*/ 1801 w 3148"/>
                <a:gd name="T61" fmla="*/ 150 h 3144"/>
                <a:gd name="T62" fmla="*/ 916 w 3148"/>
                <a:gd name="T63" fmla="*/ 145 h 3144"/>
                <a:gd name="T64" fmla="*/ 332 w 3148"/>
                <a:gd name="T65" fmla="*/ 744 h 3144"/>
                <a:gd name="T66" fmla="*/ 213 w 3148"/>
                <a:gd name="T67" fmla="*/ 1095 h 3144"/>
                <a:gd name="T68" fmla="*/ 132 w 3148"/>
                <a:gd name="T69" fmla="*/ 1736 h 3144"/>
                <a:gd name="T70" fmla="*/ 376 w 3148"/>
                <a:gd name="T71" fmla="*/ 2378 h 3144"/>
                <a:gd name="T72" fmla="*/ 692 w 3148"/>
                <a:gd name="T73" fmla="*/ 2877 h 3144"/>
                <a:gd name="T74" fmla="*/ 1313 w 3148"/>
                <a:gd name="T75" fmla="*/ 3097 h 3144"/>
                <a:gd name="T76" fmla="*/ 2294 w 3148"/>
                <a:gd name="T77" fmla="*/ 2826 h 3144"/>
                <a:gd name="T78" fmla="*/ 2748 w 3148"/>
                <a:gd name="T79" fmla="*/ 2581 h 3144"/>
                <a:gd name="T80" fmla="*/ 3010 w 3148"/>
                <a:gd name="T81" fmla="*/ 2090 h 3144"/>
                <a:gd name="T82" fmla="*/ 1741 w 3148"/>
                <a:gd name="T83" fmla="*/ 1187 h 3144"/>
                <a:gd name="T84" fmla="*/ 847 w 3148"/>
                <a:gd name="T85" fmla="*/ 1659 h 3144"/>
                <a:gd name="T86" fmla="*/ 687 w 3148"/>
                <a:gd name="T87" fmla="*/ 1798 h 3144"/>
                <a:gd name="T88" fmla="*/ 1279 w 3148"/>
                <a:gd name="T89" fmla="*/ 2266 h 3144"/>
                <a:gd name="T90" fmla="*/ 1480 w 3148"/>
                <a:gd name="T91" fmla="*/ 1745 h 3144"/>
                <a:gd name="T92" fmla="*/ 1521 w 3148"/>
                <a:gd name="T93" fmla="*/ 1962 h 3144"/>
                <a:gd name="T94" fmla="*/ 1309 w 3148"/>
                <a:gd name="T95" fmla="*/ 1588 h 3144"/>
                <a:gd name="T96" fmla="*/ 671 w 3148"/>
                <a:gd name="T97" fmla="*/ 1764 h 3144"/>
                <a:gd name="T98" fmla="*/ 1165 w 3148"/>
                <a:gd name="T99" fmla="*/ 1758 h 3144"/>
                <a:gd name="T100" fmla="*/ 1352 w 3148"/>
                <a:gd name="T101" fmla="*/ 2608 h 3144"/>
                <a:gd name="T102" fmla="*/ 1422 w 3148"/>
                <a:gd name="T103" fmla="*/ 2122 h 3144"/>
                <a:gd name="T104" fmla="*/ 1331 w 3148"/>
                <a:gd name="T105" fmla="*/ 1645 h 3144"/>
                <a:gd name="T106" fmla="*/ 646 w 3148"/>
                <a:gd name="T107" fmla="*/ 1735 h 3144"/>
                <a:gd name="T108" fmla="*/ 692 w 3148"/>
                <a:gd name="T109" fmla="*/ 1835 h 3144"/>
                <a:gd name="T110" fmla="*/ 1386 w 3148"/>
                <a:gd name="T111" fmla="*/ 2411 h 3144"/>
                <a:gd name="T112" fmla="*/ 1360 w 3148"/>
                <a:gd name="T113" fmla="*/ 2193 h 3144"/>
                <a:gd name="T114" fmla="*/ 1795 w 3148"/>
                <a:gd name="T115" fmla="*/ 1146 h 3144"/>
                <a:gd name="T116" fmla="*/ 621 w 3148"/>
                <a:gd name="T117" fmla="*/ 1718 h 3144"/>
                <a:gd name="T118" fmla="*/ 689 w 3148"/>
                <a:gd name="T119" fmla="*/ 1809 h 3144"/>
                <a:gd name="T120" fmla="*/ 1322 w 3148"/>
                <a:gd name="T121" fmla="*/ 2230 h 3144"/>
                <a:gd name="T122" fmla="*/ 1441 w 3148"/>
                <a:gd name="T123" fmla="*/ 1736 h 3144"/>
                <a:gd name="T124" fmla="*/ 1613 w 3148"/>
                <a:gd name="T125" fmla="*/ 1747 h 3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8" h="3144"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6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lnTo>
                    <a:pt x="1279" y="2267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5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5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0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5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0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2794" y="1881"/>
                  </a:moveTo>
                  <a:cubicBezTo>
                    <a:pt x="2789" y="1900"/>
                    <a:pt x="2784" y="1919"/>
                    <a:pt x="2778" y="1938"/>
                  </a:cubicBezTo>
                  <a:cubicBezTo>
                    <a:pt x="2773" y="1954"/>
                    <a:pt x="2768" y="1969"/>
                    <a:pt x="2763" y="1985"/>
                  </a:cubicBezTo>
                  <a:cubicBezTo>
                    <a:pt x="2758" y="1998"/>
                    <a:pt x="2754" y="2010"/>
                    <a:pt x="2749" y="2023"/>
                  </a:cubicBezTo>
                  <a:cubicBezTo>
                    <a:pt x="2733" y="2065"/>
                    <a:pt x="2715" y="2105"/>
                    <a:pt x="2695" y="2145"/>
                  </a:cubicBezTo>
                  <a:cubicBezTo>
                    <a:pt x="2645" y="2243"/>
                    <a:pt x="2583" y="2332"/>
                    <a:pt x="2512" y="2411"/>
                  </a:cubicBezTo>
                  <a:cubicBezTo>
                    <a:pt x="2507" y="2418"/>
                    <a:pt x="2501" y="2424"/>
                    <a:pt x="2495" y="2430"/>
                  </a:cubicBezTo>
                  <a:lnTo>
                    <a:pt x="2463" y="2396"/>
                  </a:lnTo>
                  <a:lnTo>
                    <a:pt x="2411" y="2341"/>
                  </a:lnTo>
                  <a:lnTo>
                    <a:pt x="1953" y="1853"/>
                  </a:lnTo>
                  <a:lnTo>
                    <a:pt x="1916" y="1813"/>
                  </a:lnTo>
                  <a:lnTo>
                    <a:pt x="1854" y="1747"/>
                  </a:lnTo>
                  <a:lnTo>
                    <a:pt x="1825" y="1716"/>
                  </a:lnTo>
                  <a:lnTo>
                    <a:pt x="1739" y="1624"/>
                  </a:lnTo>
                  <a:lnTo>
                    <a:pt x="1786" y="1613"/>
                  </a:lnTo>
                  <a:lnTo>
                    <a:pt x="1787" y="1612"/>
                  </a:lnTo>
                  <a:lnTo>
                    <a:pt x="1825" y="1604"/>
                  </a:lnTo>
                  <a:lnTo>
                    <a:pt x="1853" y="1597"/>
                  </a:lnTo>
                  <a:lnTo>
                    <a:pt x="1853" y="1597"/>
                  </a:lnTo>
                  <a:lnTo>
                    <a:pt x="2069" y="1547"/>
                  </a:lnTo>
                  <a:lnTo>
                    <a:pt x="2657" y="1409"/>
                  </a:lnTo>
                  <a:lnTo>
                    <a:pt x="2667" y="1407"/>
                  </a:lnTo>
                  <a:lnTo>
                    <a:pt x="2816" y="1372"/>
                  </a:lnTo>
                  <a:cubicBezTo>
                    <a:pt x="2842" y="1537"/>
                    <a:pt x="2837" y="1710"/>
                    <a:pt x="2794" y="1881"/>
                  </a:cubicBezTo>
                  <a:moveTo>
                    <a:pt x="1294" y="2800"/>
                  </a:moveTo>
                  <a:lnTo>
                    <a:pt x="1326" y="2694"/>
                  </a:lnTo>
                  <a:lnTo>
                    <a:pt x="1352" y="2608"/>
                  </a:lnTo>
                  <a:lnTo>
                    <a:pt x="1352" y="2608"/>
                  </a:lnTo>
                  <a:lnTo>
                    <a:pt x="1407" y="2426"/>
                  </a:lnTo>
                  <a:lnTo>
                    <a:pt x="1417" y="2394"/>
                  </a:lnTo>
                  <a:lnTo>
                    <a:pt x="1456" y="2266"/>
                  </a:lnTo>
                  <a:lnTo>
                    <a:pt x="1469" y="2222"/>
                  </a:lnTo>
                  <a:lnTo>
                    <a:pt x="1534" y="2009"/>
                  </a:lnTo>
                  <a:lnTo>
                    <a:pt x="1567" y="1900"/>
                  </a:lnTo>
                  <a:lnTo>
                    <a:pt x="1613" y="1747"/>
                  </a:lnTo>
                  <a:lnTo>
                    <a:pt x="1615" y="1739"/>
                  </a:lnTo>
                  <a:lnTo>
                    <a:pt x="1622" y="1747"/>
                  </a:lnTo>
                  <a:lnTo>
                    <a:pt x="1625" y="1749"/>
                  </a:lnTo>
                  <a:lnTo>
                    <a:pt x="1745" y="1877"/>
                  </a:lnTo>
                  <a:lnTo>
                    <a:pt x="2270" y="2437"/>
                  </a:lnTo>
                  <a:lnTo>
                    <a:pt x="2270" y="2437"/>
                  </a:lnTo>
                  <a:lnTo>
                    <a:pt x="2372" y="2546"/>
                  </a:lnTo>
                  <a:cubicBezTo>
                    <a:pt x="2079" y="2786"/>
                    <a:pt x="1683" y="2889"/>
                    <a:pt x="1294" y="2800"/>
                  </a:cubicBezTo>
                  <a:moveTo>
                    <a:pt x="1279" y="2267"/>
                  </a:moveTo>
                  <a:lnTo>
                    <a:pt x="1263" y="2321"/>
                  </a:lnTo>
                  <a:lnTo>
                    <a:pt x="1254" y="2350"/>
                  </a:lnTo>
                  <a:lnTo>
                    <a:pt x="1160" y="2660"/>
                  </a:lnTo>
                  <a:lnTo>
                    <a:pt x="1133" y="2751"/>
                  </a:lnTo>
                  <a:cubicBezTo>
                    <a:pt x="1089" y="2735"/>
                    <a:pt x="1046" y="2716"/>
                    <a:pt x="1005" y="2695"/>
                  </a:cubicBezTo>
                  <a:cubicBezTo>
                    <a:pt x="919" y="2651"/>
                    <a:pt x="839" y="2599"/>
                    <a:pt x="768" y="2538"/>
                  </a:cubicBezTo>
                  <a:cubicBezTo>
                    <a:pt x="752" y="2525"/>
                    <a:pt x="736" y="2512"/>
                    <a:pt x="721" y="2498"/>
                  </a:cubicBezTo>
                  <a:lnTo>
                    <a:pt x="721" y="2498"/>
                  </a:lnTo>
                  <a:cubicBezTo>
                    <a:pt x="709" y="2486"/>
                    <a:pt x="697" y="2475"/>
                    <a:pt x="685" y="2463"/>
                  </a:cubicBezTo>
                  <a:cubicBezTo>
                    <a:pt x="670" y="2448"/>
                    <a:pt x="655" y="2432"/>
                    <a:pt x="640" y="2415"/>
                  </a:cubicBezTo>
                  <a:cubicBezTo>
                    <a:pt x="598" y="2368"/>
                    <a:pt x="559" y="2318"/>
                    <a:pt x="525" y="2266"/>
                  </a:cubicBezTo>
                  <a:lnTo>
                    <a:pt x="525" y="2266"/>
                  </a:lnTo>
                  <a:cubicBezTo>
                    <a:pt x="488" y="2210"/>
                    <a:pt x="455" y="2151"/>
                    <a:pt x="428" y="2090"/>
                  </a:cubicBezTo>
                  <a:cubicBezTo>
                    <a:pt x="420" y="2073"/>
                    <a:pt x="413" y="2056"/>
                    <a:pt x="406" y="2040"/>
                  </a:cubicBezTo>
                  <a:cubicBezTo>
                    <a:pt x="394" y="2008"/>
                    <a:pt x="382" y="1976"/>
                    <a:pt x="372" y="1943"/>
                  </a:cubicBezTo>
                  <a:lnTo>
                    <a:pt x="416" y="1933"/>
                  </a:lnTo>
                  <a:lnTo>
                    <a:pt x="451" y="1925"/>
                  </a:lnTo>
                  <a:lnTo>
                    <a:pt x="469" y="1921"/>
                  </a:lnTo>
                  <a:lnTo>
                    <a:pt x="480" y="1918"/>
                  </a:lnTo>
                  <a:lnTo>
                    <a:pt x="558" y="1900"/>
                  </a:lnTo>
                  <a:lnTo>
                    <a:pt x="559" y="1899"/>
                  </a:lnTo>
                  <a:lnTo>
                    <a:pt x="560" y="1899"/>
                  </a:ln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lnTo>
                    <a:pt x="1454" y="1690"/>
                  </a:ln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lnTo>
                    <a:pt x="1293" y="2222"/>
                  </a:lnTo>
                  <a:lnTo>
                    <a:pt x="1279" y="2266"/>
                  </a:lnTo>
                  <a:lnTo>
                    <a:pt x="1279" y="2267"/>
                  </a:lnTo>
                  <a:lnTo>
                    <a:pt x="1279" y="2267"/>
                  </a:lnTo>
                  <a:moveTo>
                    <a:pt x="352" y="1775"/>
                  </a:moveTo>
                  <a:lnTo>
                    <a:pt x="333" y="1779"/>
                  </a:lnTo>
                  <a:cubicBezTo>
                    <a:pt x="329" y="1754"/>
                    <a:pt x="326" y="1728"/>
                    <a:pt x="323" y="1703"/>
                  </a:cubicBezTo>
                  <a:lnTo>
                    <a:pt x="323" y="1702"/>
                  </a:lnTo>
                  <a:cubicBezTo>
                    <a:pt x="314" y="1610"/>
                    <a:pt x="314" y="1516"/>
                    <a:pt x="326" y="1421"/>
                  </a:cubicBezTo>
                  <a:cubicBezTo>
                    <a:pt x="327" y="1412"/>
                    <a:pt x="329" y="1402"/>
                    <a:pt x="330" y="1393"/>
                  </a:cubicBezTo>
                  <a:cubicBezTo>
                    <a:pt x="339" y="1331"/>
                    <a:pt x="353" y="1270"/>
                    <a:pt x="371" y="1208"/>
                  </a:cubicBezTo>
                  <a:cubicBezTo>
                    <a:pt x="429" y="1018"/>
                    <a:pt x="528" y="852"/>
                    <a:pt x="655" y="715"/>
                  </a:cubicBezTo>
                  <a:lnTo>
                    <a:pt x="710" y="774"/>
                  </a:lnTo>
                  <a:lnTo>
                    <a:pt x="892" y="968"/>
                  </a:lnTo>
                  <a:lnTo>
                    <a:pt x="1110" y="1200"/>
                  </a:lnTo>
                  <a:lnTo>
                    <a:pt x="1237" y="1336"/>
                  </a:lnTo>
                  <a:lnTo>
                    <a:pt x="1305" y="1408"/>
                  </a:lnTo>
                  <a:lnTo>
                    <a:pt x="1306" y="1410"/>
                  </a:lnTo>
                  <a:lnTo>
                    <a:pt x="1321" y="1426"/>
                  </a:lnTo>
                  <a:lnTo>
                    <a:pt x="1322" y="1426"/>
                  </a:lnTo>
                  <a:lnTo>
                    <a:pt x="1414" y="1524"/>
                  </a:lnTo>
                  <a:lnTo>
                    <a:pt x="1414" y="1524"/>
                  </a:lnTo>
                  <a:lnTo>
                    <a:pt x="1415" y="1526"/>
                  </a:ln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lnTo>
                    <a:pt x="574" y="1723"/>
                  </a:lnTo>
                  <a:lnTo>
                    <a:pt x="495" y="1741"/>
                  </a:lnTo>
                  <a:lnTo>
                    <a:pt x="457" y="1750"/>
                  </a:lnTo>
                  <a:lnTo>
                    <a:pt x="457" y="1750"/>
                  </a:lnTo>
                  <a:lnTo>
                    <a:pt x="410" y="1761"/>
                  </a:lnTo>
                  <a:lnTo>
                    <a:pt x="379" y="1768"/>
                  </a:lnTo>
                  <a:lnTo>
                    <a:pt x="352" y="1775"/>
                  </a:lnTo>
                  <a:moveTo>
                    <a:pt x="1005" y="452"/>
                  </a:moveTo>
                  <a:cubicBezTo>
                    <a:pt x="1250" y="328"/>
                    <a:pt x="1536" y="283"/>
                    <a:pt x="1822" y="341"/>
                  </a:cubicBezTo>
                  <a:cubicBezTo>
                    <a:pt x="1835" y="344"/>
                    <a:pt x="1847" y="346"/>
                    <a:pt x="1859" y="349"/>
                  </a:cubicBezTo>
                  <a:lnTo>
                    <a:pt x="1830" y="445"/>
                  </a:lnTo>
                  <a:lnTo>
                    <a:pt x="1671" y="972"/>
                  </a:lnTo>
                  <a:lnTo>
                    <a:pt x="1638" y="1080"/>
                  </a:lnTo>
                  <a:lnTo>
                    <a:pt x="1584" y="1259"/>
                  </a:lnTo>
                  <a:lnTo>
                    <a:pt x="1568" y="1312"/>
                  </a:lnTo>
                  <a:lnTo>
                    <a:pt x="1538" y="1410"/>
                  </a:lnTo>
                  <a:lnTo>
                    <a:pt x="1437" y="1302"/>
                  </a:lnTo>
                  <a:lnTo>
                    <a:pt x="1328" y="1186"/>
                  </a:lnTo>
                  <a:lnTo>
                    <a:pt x="1241" y="1093"/>
                  </a:lnTo>
                  <a:lnTo>
                    <a:pt x="877" y="705"/>
                  </a:lnTo>
                  <a:lnTo>
                    <a:pt x="839" y="665"/>
                  </a:lnTo>
                  <a:lnTo>
                    <a:pt x="778" y="600"/>
                  </a:lnTo>
                  <a:cubicBezTo>
                    <a:pt x="848" y="543"/>
                    <a:pt x="924" y="493"/>
                    <a:pt x="1005" y="452"/>
                  </a:cubicBezTo>
                  <a:moveTo>
                    <a:pt x="2000" y="467"/>
                  </a:moveTo>
                  <a:lnTo>
                    <a:pt x="2021" y="399"/>
                  </a:lnTo>
                  <a:cubicBezTo>
                    <a:pt x="2071" y="418"/>
                    <a:pt x="2119" y="439"/>
                    <a:pt x="2165" y="464"/>
                  </a:cubicBezTo>
                  <a:cubicBezTo>
                    <a:pt x="2221" y="494"/>
                    <a:pt x="2274" y="527"/>
                    <a:pt x="2324" y="564"/>
                  </a:cubicBezTo>
                  <a:cubicBezTo>
                    <a:pt x="2466" y="669"/>
                    <a:pt x="2582" y="802"/>
                    <a:pt x="2667" y="951"/>
                  </a:cubicBezTo>
                  <a:cubicBezTo>
                    <a:pt x="2713" y="1032"/>
                    <a:pt x="2750" y="1118"/>
                    <a:pt x="2777" y="1207"/>
                  </a:cubicBezTo>
                  <a:lnTo>
                    <a:pt x="2667" y="1233"/>
                  </a:lnTo>
                  <a:lnTo>
                    <a:pt x="1979" y="1394"/>
                  </a:lnTo>
                  <a:lnTo>
                    <a:pt x="1825" y="1430"/>
                  </a:lnTo>
                  <a:lnTo>
                    <a:pt x="1700" y="1459"/>
                  </a:lnTo>
                  <a:lnTo>
                    <a:pt x="1751" y="1291"/>
                  </a:lnTo>
                  <a:lnTo>
                    <a:pt x="1795" y="1146"/>
                  </a:lnTo>
                  <a:lnTo>
                    <a:pt x="1815" y="1080"/>
                  </a:lnTo>
                  <a:lnTo>
                    <a:pt x="1844" y="983"/>
                  </a:lnTo>
                  <a:lnTo>
                    <a:pt x="1851" y="960"/>
                  </a:lnTo>
                  <a:lnTo>
                    <a:pt x="2000" y="467"/>
                  </a:lnTo>
                  <a:moveTo>
                    <a:pt x="3142" y="1601"/>
                  </a:moveTo>
                  <a:cubicBezTo>
                    <a:pt x="3138" y="1596"/>
                    <a:pt x="3131" y="1592"/>
                    <a:pt x="3122" y="1591"/>
                  </a:cubicBezTo>
                  <a:cubicBezTo>
                    <a:pt x="3106" y="1589"/>
                    <a:pt x="3090" y="1587"/>
                    <a:pt x="3074" y="1586"/>
                  </a:cubicBezTo>
                  <a:cubicBezTo>
                    <a:pt x="3055" y="1584"/>
                    <a:pt x="3036" y="1581"/>
                    <a:pt x="3019" y="1579"/>
                  </a:cubicBezTo>
                  <a:cubicBezTo>
                    <a:pt x="3016" y="1522"/>
                    <a:pt x="3013" y="1466"/>
                    <a:pt x="3010" y="1409"/>
                  </a:cubicBezTo>
                  <a:cubicBezTo>
                    <a:pt x="3011" y="1409"/>
                    <a:pt x="3015" y="1408"/>
                    <a:pt x="3018" y="1407"/>
                  </a:cubicBezTo>
                  <a:cubicBezTo>
                    <a:pt x="3047" y="1401"/>
                    <a:pt x="3077" y="1394"/>
                    <a:pt x="3107" y="1387"/>
                  </a:cubicBezTo>
                  <a:cubicBezTo>
                    <a:pt x="3129" y="1382"/>
                    <a:pt x="3136" y="1373"/>
                    <a:pt x="3132" y="1350"/>
                  </a:cubicBezTo>
                  <a:lnTo>
                    <a:pt x="3128" y="1322"/>
                  </a:lnTo>
                  <a:cubicBezTo>
                    <a:pt x="3124" y="1301"/>
                    <a:pt x="3120" y="1279"/>
                    <a:pt x="3116" y="1257"/>
                  </a:cubicBezTo>
                  <a:cubicBezTo>
                    <a:pt x="3113" y="1240"/>
                    <a:pt x="3102" y="1232"/>
                    <a:pt x="3085" y="1234"/>
                  </a:cubicBezTo>
                  <a:cubicBezTo>
                    <a:pt x="3070" y="1235"/>
                    <a:pt x="3055" y="1237"/>
                    <a:pt x="3040" y="1239"/>
                  </a:cubicBezTo>
                  <a:cubicBezTo>
                    <a:pt x="3024" y="1241"/>
                    <a:pt x="3007" y="1243"/>
                    <a:pt x="2990" y="1245"/>
                  </a:cubicBezTo>
                  <a:cubicBezTo>
                    <a:pt x="2986" y="1246"/>
                    <a:pt x="2983" y="1246"/>
                    <a:pt x="2981" y="1246"/>
                  </a:cubicBezTo>
                  <a:cubicBezTo>
                    <a:pt x="2965" y="1191"/>
                    <a:pt x="2949" y="1137"/>
                    <a:pt x="2933" y="1083"/>
                  </a:cubicBezTo>
                  <a:cubicBezTo>
                    <a:pt x="2963" y="1068"/>
                    <a:pt x="2994" y="1053"/>
                    <a:pt x="3025" y="1037"/>
                  </a:cubicBezTo>
                  <a:cubicBezTo>
                    <a:pt x="3042" y="1029"/>
                    <a:pt x="3047" y="1017"/>
                    <a:pt x="3040" y="1000"/>
                  </a:cubicBezTo>
                  <a:cubicBezTo>
                    <a:pt x="3027" y="969"/>
                    <a:pt x="3014" y="939"/>
                    <a:pt x="3001" y="909"/>
                  </a:cubicBezTo>
                  <a:cubicBezTo>
                    <a:pt x="2994" y="894"/>
                    <a:pt x="2981" y="889"/>
                    <a:pt x="2967" y="894"/>
                  </a:cubicBezTo>
                  <a:cubicBezTo>
                    <a:pt x="2953" y="899"/>
                    <a:pt x="2939" y="904"/>
                    <a:pt x="2926" y="909"/>
                  </a:cubicBezTo>
                  <a:cubicBezTo>
                    <a:pt x="2906" y="916"/>
                    <a:pt x="2886" y="924"/>
                    <a:pt x="2867" y="931"/>
                  </a:cubicBezTo>
                  <a:cubicBezTo>
                    <a:pt x="2839" y="881"/>
                    <a:pt x="2811" y="832"/>
                    <a:pt x="2783" y="783"/>
                  </a:cubicBezTo>
                  <a:cubicBezTo>
                    <a:pt x="2785" y="781"/>
                    <a:pt x="2788" y="778"/>
                    <a:pt x="2791" y="776"/>
                  </a:cubicBezTo>
                  <a:cubicBezTo>
                    <a:pt x="2815" y="756"/>
                    <a:pt x="2839" y="736"/>
                    <a:pt x="2863" y="717"/>
                  </a:cubicBezTo>
                  <a:cubicBezTo>
                    <a:pt x="2877" y="705"/>
                    <a:pt x="2879" y="693"/>
                    <a:pt x="2868" y="678"/>
                  </a:cubicBezTo>
                  <a:cubicBezTo>
                    <a:pt x="2849" y="651"/>
                    <a:pt x="2829" y="625"/>
                    <a:pt x="2809" y="598"/>
                  </a:cubicBezTo>
                  <a:cubicBezTo>
                    <a:pt x="2799" y="584"/>
                    <a:pt x="2786" y="583"/>
                    <a:pt x="2771" y="592"/>
                  </a:cubicBezTo>
                  <a:cubicBezTo>
                    <a:pt x="2744" y="610"/>
                    <a:pt x="2717" y="628"/>
                    <a:pt x="2690" y="646"/>
                  </a:cubicBezTo>
                  <a:cubicBezTo>
                    <a:pt x="2688" y="648"/>
                    <a:pt x="2685" y="649"/>
                    <a:pt x="2684" y="649"/>
                  </a:cubicBezTo>
                  <a:cubicBezTo>
                    <a:pt x="2678" y="643"/>
                    <a:pt x="2673" y="637"/>
                    <a:pt x="2667" y="631"/>
                  </a:cubicBezTo>
                  <a:cubicBezTo>
                    <a:pt x="2634" y="596"/>
                    <a:pt x="2601" y="561"/>
                    <a:pt x="2568" y="525"/>
                  </a:cubicBezTo>
                  <a:cubicBezTo>
                    <a:pt x="2569" y="523"/>
                    <a:pt x="2571" y="521"/>
                    <a:pt x="2573" y="518"/>
                  </a:cubicBezTo>
                  <a:cubicBezTo>
                    <a:pt x="2593" y="492"/>
                    <a:pt x="2612" y="467"/>
                    <a:pt x="2632" y="441"/>
                  </a:cubicBezTo>
                  <a:cubicBezTo>
                    <a:pt x="2641" y="429"/>
                    <a:pt x="2641" y="416"/>
                    <a:pt x="2630" y="407"/>
                  </a:cubicBezTo>
                  <a:cubicBezTo>
                    <a:pt x="2603" y="383"/>
                    <a:pt x="2576" y="360"/>
                    <a:pt x="2548" y="338"/>
                  </a:cubicBezTo>
                  <a:cubicBezTo>
                    <a:pt x="2537" y="329"/>
                    <a:pt x="2524" y="331"/>
                    <a:pt x="2514" y="341"/>
                  </a:cubicBezTo>
                  <a:cubicBezTo>
                    <a:pt x="2498" y="358"/>
                    <a:pt x="2482" y="375"/>
                    <a:pt x="2466" y="392"/>
                  </a:cubicBezTo>
                  <a:cubicBezTo>
                    <a:pt x="2458" y="401"/>
                    <a:pt x="2449" y="410"/>
                    <a:pt x="2441" y="418"/>
                  </a:cubicBezTo>
                  <a:cubicBezTo>
                    <a:pt x="2394" y="387"/>
                    <a:pt x="2347" y="356"/>
                    <a:pt x="2300" y="325"/>
                  </a:cubicBezTo>
                  <a:lnTo>
                    <a:pt x="2299" y="324"/>
                  </a:lnTo>
                  <a:lnTo>
                    <a:pt x="2300" y="323"/>
                  </a:lnTo>
                  <a:cubicBezTo>
                    <a:pt x="2302" y="319"/>
                    <a:pt x="2303" y="315"/>
                    <a:pt x="2306" y="310"/>
                  </a:cubicBezTo>
                  <a:cubicBezTo>
                    <a:pt x="2318" y="282"/>
                    <a:pt x="2330" y="255"/>
                    <a:pt x="2342" y="228"/>
                  </a:cubicBezTo>
                  <a:cubicBezTo>
                    <a:pt x="2348" y="213"/>
                    <a:pt x="2345" y="201"/>
                    <a:pt x="2331" y="194"/>
                  </a:cubicBezTo>
                  <a:cubicBezTo>
                    <a:pt x="2316" y="186"/>
                    <a:pt x="2300" y="178"/>
                    <a:pt x="2284" y="170"/>
                  </a:cubicBezTo>
                  <a:cubicBezTo>
                    <a:pt x="2269" y="162"/>
                    <a:pt x="2253" y="154"/>
                    <a:pt x="2237" y="147"/>
                  </a:cubicBezTo>
                  <a:cubicBezTo>
                    <a:pt x="2223" y="140"/>
                    <a:pt x="2211" y="145"/>
                    <a:pt x="2204" y="159"/>
                  </a:cubicBezTo>
                  <a:cubicBezTo>
                    <a:pt x="2196" y="172"/>
                    <a:pt x="2189" y="185"/>
                    <a:pt x="2181" y="198"/>
                  </a:cubicBezTo>
                  <a:cubicBezTo>
                    <a:pt x="2176" y="207"/>
                    <a:pt x="2171" y="216"/>
                    <a:pt x="2165" y="225"/>
                  </a:cubicBezTo>
                  <a:cubicBezTo>
                    <a:pt x="2161" y="234"/>
                    <a:pt x="2156" y="242"/>
                    <a:pt x="2151" y="250"/>
                  </a:cubicBezTo>
                  <a:cubicBezTo>
                    <a:pt x="2101" y="231"/>
                    <a:pt x="2051" y="213"/>
                    <a:pt x="2000" y="195"/>
                  </a:cubicBezTo>
                  <a:cubicBezTo>
                    <a:pt x="1997" y="194"/>
                    <a:pt x="1994" y="193"/>
                    <a:pt x="1991" y="191"/>
                  </a:cubicBezTo>
                  <a:cubicBezTo>
                    <a:pt x="1994" y="175"/>
                    <a:pt x="1997" y="158"/>
                    <a:pt x="2000" y="141"/>
                  </a:cubicBezTo>
                  <a:cubicBezTo>
                    <a:pt x="2003" y="125"/>
                    <a:pt x="2006" y="109"/>
                    <a:pt x="2010" y="92"/>
                  </a:cubicBezTo>
                  <a:cubicBezTo>
                    <a:pt x="2013" y="79"/>
                    <a:pt x="2010" y="69"/>
                    <a:pt x="2000" y="60"/>
                  </a:cubicBezTo>
                  <a:lnTo>
                    <a:pt x="1999" y="59"/>
                  </a:lnTo>
                  <a:lnTo>
                    <a:pt x="1957" y="46"/>
                  </a:lnTo>
                  <a:cubicBezTo>
                    <a:pt x="1936" y="42"/>
                    <a:pt x="1915" y="38"/>
                    <a:pt x="1895" y="33"/>
                  </a:cubicBezTo>
                  <a:cubicBezTo>
                    <a:pt x="1876" y="29"/>
                    <a:pt x="1866" y="35"/>
                    <a:pt x="1860" y="54"/>
                  </a:cubicBezTo>
                  <a:cubicBezTo>
                    <a:pt x="1851" y="85"/>
                    <a:pt x="1841" y="115"/>
                    <a:pt x="1832" y="146"/>
                  </a:cubicBezTo>
                  <a:cubicBezTo>
                    <a:pt x="1831" y="152"/>
                    <a:pt x="1828" y="154"/>
                    <a:pt x="1822" y="153"/>
                  </a:cubicBezTo>
                  <a:cubicBezTo>
                    <a:pt x="1815" y="152"/>
                    <a:pt x="1808" y="151"/>
                    <a:pt x="1801" y="150"/>
                  </a:cubicBezTo>
                  <a:cubicBezTo>
                    <a:pt x="1776" y="146"/>
                    <a:pt x="1752" y="143"/>
                    <a:pt x="1727" y="140"/>
                  </a:cubicBezTo>
                  <a:cubicBezTo>
                    <a:pt x="1706" y="137"/>
                    <a:pt x="1684" y="135"/>
                    <a:pt x="1662" y="133"/>
                  </a:cubicBezTo>
                  <a:cubicBezTo>
                    <a:pt x="1661" y="130"/>
                    <a:pt x="1661" y="127"/>
                    <a:pt x="1661" y="124"/>
                  </a:cubicBezTo>
                  <a:cubicBezTo>
                    <a:pt x="1659" y="92"/>
                    <a:pt x="1658" y="59"/>
                    <a:pt x="1656" y="27"/>
                  </a:cubicBezTo>
                  <a:cubicBezTo>
                    <a:pt x="1655" y="11"/>
                    <a:pt x="1646" y="1"/>
                    <a:pt x="1630" y="1"/>
                  </a:cubicBezTo>
                  <a:cubicBezTo>
                    <a:pt x="1596" y="0"/>
                    <a:pt x="1563" y="0"/>
                    <a:pt x="1530" y="0"/>
                  </a:cubicBezTo>
                  <a:cubicBezTo>
                    <a:pt x="1511" y="1"/>
                    <a:pt x="1502" y="10"/>
                    <a:pt x="1501" y="29"/>
                  </a:cubicBezTo>
                  <a:cubicBezTo>
                    <a:pt x="1500" y="60"/>
                    <a:pt x="1498" y="92"/>
                    <a:pt x="1496" y="123"/>
                  </a:cubicBezTo>
                  <a:cubicBezTo>
                    <a:pt x="1496" y="132"/>
                    <a:pt x="1493" y="133"/>
                    <a:pt x="1486" y="134"/>
                  </a:cubicBezTo>
                  <a:cubicBezTo>
                    <a:pt x="1450" y="137"/>
                    <a:pt x="1414" y="141"/>
                    <a:pt x="1379" y="145"/>
                  </a:cubicBezTo>
                  <a:cubicBezTo>
                    <a:pt x="1361" y="146"/>
                    <a:pt x="1344" y="149"/>
                    <a:pt x="1327" y="152"/>
                  </a:cubicBezTo>
                  <a:cubicBezTo>
                    <a:pt x="1317" y="118"/>
                    <a:pt x="1307" y="84"/>
                    <a:pt x="1297" y="50"/>
                  </a:cubicBezTo>
                  <a:cubicBezTo>
                    <a:pt x="1293" y="36"/>
                    <a:pt x="1282" y="27"/>
                    <a:pt x="1268" y="30"/>
                  </a:cubicBezTo>
                  <a:cubicBezTo>
                    <a:pt x="1233" y="38"/>
                    <a:pt x="1198" y="46"/>
                    <a:pt x="1164" y="55"/>
                  </a:cubicBezTo>
                  <a:cubicBezTo>
                    <a:pt x="1150" y="58"/>
                    <a:pt x="1144" y="71"/>
                    <a:pt x="1147" y="84"/>
                  </a:cubicBezTo>
                  <a:cubicBezTo>
                    <a:pt x="1151" y="111"/>
                    <a:pt x="1156" y="137"/>
                    <a:pt x="1161" y="163"/>
                  </a:cubicBezTo>
                  <a:cubicBezTo>
                    <a:pt x="1162" y="172"/>
                    <a:pt x="1164" y="181"/>
                    <a:pt x="1165" y="189"/>
                  </a:cubicBezTo>
                  <a:cubicBezTo>
                    <a:pt x="1111" y="208"/>
                    <a:pt x="1058" y="227"/>
                    <a:pt x="1005" y="246"/>
                  </a:cubicBezTo>
                  <a:lnTo>
                    <a:pt x="1003" y="244"/>
                  </a:lnTo>
                  <a:cubicBezTo>
                    <a:pt x="987" y="215"/>
                    <a:pt x="971" y="186"/>
                    <a:pt x="955" y="158"/>
                  </a:cubicBezTo>
                  <a:cubicBezTo>
                    <a:pt x="945" y="141"/>
                    <a:pt x="933" y="136"/>
                    <a:pt x="916" y="145"/>
                  </a:cubicBezTo>
                  <a:cubicBezTo>
                    <a:pt x="888" y="158"/>
                    <a:pt x="860" y="172"/>
                    <a:pt x="833" y="186"/>
                  </a:cubicBezTo>
                  <a:cubicBezTo>
                    <a:pt x="811" y="196"/>
                    <a:pt x="808" y="208"/>
                    <a:pt x="817" y="230"/>
                  </a:cubicBezTo>
                  <a:cubicBezTo>
                    <a:pt x="830" y="258"/>
                    <a:pt x="843" y="287"/>
                    <a:pt x="855" y="315"/>
                  </a:cubicBezTo>
                  <a:cubicBezTo>
                    <a:pt x="855" y="317"/>
                    <a:pt x="856" y="319"/>
                    <a:pt x="857" y="320"/>
                  </a:cubicBezTo>
                  <a:cubicBezTo>
                    <a:pt x="849" y="325"/>
                    <a:pt x="842" y="330"/>
                    <a:pt x="834" y="335"/>
                  </a:cubicBezTo>
                  <a:cubicBezTo>
                    <a:pt x="794" y="361"/>
                    <a:pt x="754" y="387"/>
                    <a:pt x="714" y="414"/>
                  </a:cubicBezTo>
                  <a:cubicBezTo>
                    <a:pt x="691" y="389"/>
                    <a:pt x="668" y="363"/>
                    <a:pt x="645" y="338"/>
                  </a:cubicBezTo>
                  <a:cubicBezTo>
                    <a:pt x="633" y="326"/>
                    <a:pt x="621" y="323"/>
                    <a:pt x="609" y="331"/>
                  </a:cubicBezTo>
                  <a:lnTo>
                    <a:pt x="604" y="335"/>
                  </a:lnTo>
                  <a:cubicBezTo>
                    <a:pt x="579" y="355"/>
                    <a:pt x="553" y="376"/>
                    <a:pt x="528" y="398"/>
                  </a:cubicBezTo>
                  <a:cubicBezTo>
                    <a:pt x="515" y="409"/>
                    <a:pt x="514" y="422"/>
                    <a:pt x="525" y="436"/>
                  </a:cubicBezTo>
                  <a:cubicBezTo>
                    <a:pt x="544" y="461"/>
                    <a:pt x="563" y="487"/>
                    <a:pt x="582" y="512"/>
                  </a:cubicBezTo>
                  <a:cubicBezTo>
                    <a:pt x="584" y="515"/>
                    <a:pt x="586" y="518"/>
                    <a:pt x="587" y="520"/>
                  </a:cubicBezTo>
                  <a:cubicBezTo>
                    <a:pt x="547" y="561"/>
                    <a:pt x="509" y="602"/>
                    <a:pt x="470" y="643"/>
                  </a:cubicBezTo>
                  <a:lnTo>
                    <a:pt x="466" y="641"/>
                  </a:lnTo>
                  <a:cubicBezTo>
                    <a:pt x="439" y="623"/>
                    <a:pt x="412" y="604"/>
                    <a:pt x="385" y="586"/>
                  </a:cubicBezTo>
                  <a:cubicBezTo>
                    <a:pt x="368" y="575"/>
                    <a:pt x="356" y="576"/>
                    <a:pt x="344" y="592"/>
                  </a:cubicBezTo>
                  <a:cubicBezTo>
                    <a:pt x="332" y="608"/>
                    <a:pt x="320" y="624"/>
                    <a:pt x="308" y="640"/>
                  </a:cubicBezTo>
                  <a:cubicBezTo>
                    <a:pt x="300" y="650"/>
                    <a:pt x="293" y="660"/>
                    <a:pt x="286" y="670"/>
                  </a:cubicBezTo>
                  <a:cubicBezTo>
                    <a:pt x="275" y="685"/>
                    <a:pt x="277" y="697"/>
                    <a:pt x="291" y="709"/>
                  </a:cubicBezTo>
                  <a:cubicBezTo>
                    <a:pt x="305" y="721"/>
                    <a:pt x="318" y="732"/>
                    <a:pt x="332" y="744"/>
                  </a:cubicBezTo>
                  <a:cubicBezTo>
                    <a:pt x="342" y="752"/>
                    <a:pt x="352" y="760"/>
                    <a:pt x="362" y="768"/>
                  </a:cubicBezTo>
                  <a:lnTo>
                    <a:pt x="362" y="769"/>
                  </a:lnTo>
                  <a:lnTo>
                    <a:pt x="364" y="770"/>
                  </a:lnTo>
                  <a:cubicBezTo>
                    <a:pt x="367" y="772"/>
                    <a:pt x="369" y="775"/>
                    <a:pt x="371" y="777"/>
                  </a:cubicBezTo>
                  <a:cubicBezTo>
                    <a:pt x="370" y="778"/>
                    <a:pt x="370" y="780"/>
                    <a:pt x="369" y="781"/>
                  </a:cubicBezTo>
                  <a:cubicBezTo>
                    <a:pt x="343" y="827"/>
                    <a:pt x="316" y="872"/>
                    <a:pt x="290" y="918"/>
                  </a:cubicBezTo>
                  <a:cubicBezTo>
                    <a:pt x="286" y="924"/>
                    <a:pt x="283" y="922"/>
                    <a:pt x="279" y="921"/>
                  </a:cubicBezTo>
                  <a:cubicBezTo>
                    <a:pt x="248" y="909"/>
                    <a:pt x="217" y="897"/>
                    <a:pt x="186" y="886"/>
                  </a:cubicBezTo>
                  <a:cubicBezTo>
                    <a:pt x="181" y="884"/>
                    <a:pt x="176" y="884"/>
                    <a:pt x="171" y="884"/>
                  </a:cubicBezTo>
                  <a:lnTo>
                    <a:pt x="171" y="884"/>
                  </a:lnTo>
                  <a:lnTo>
                    <a:pt x="170" y="884"/>
                  </a:lnTo>
                  <a:cubicBezTo>
                    <a:pt x="163" y="886"/>
                    <a:pt x="156" y="891"/>
                    <a:pt x="152" y="899"/>
                  </a:cubicBezTo>
                  <a:lnTo>
                    <a:pt x="152" y="900"/>
                  </a:lnTo>
                  <a:lnTo>
                    <a:pt x="152" y="900"/>
                  </a:lnTo>
                  <a:cubicBezTo>
                    <a:pt x="147" y="910"/>
                    <a:pt x="143" y="920"/>
                    <a:pt x="139" y="930"/>
                  </a:cubicBezTo>
                  <a:cubicBezTo>
                    <a:pt x="130" y="948"/>
                    <a:pt x="122" y="966"/>
                    <a:pt x="114" y="985"/>
                  </a:cubicBezTo>
                  <a:lnTo>
                    <a:pt x="108" y="1003"/>
                  </a:lnTo>
                  <a:cubicBezTo>
                    <a:pt x="110" y="1014"/>
                    <a:pt x="114" y="1023"/>
                    <a:pt x="125" y="1028"/>
                  </a:cubicBezTo>
                  <a:cubicBezTo>
                    <a:pt x="140" y="1035"/>
                    <a:pt x="154" y="1043"/>
                    <a:pt x="169" y="1050"/>
                  </a:cubicBezTo>
                  <a:cubicBezTo>
                    <a:pt x="186" y="1058"/>
                    <a:pt x="203" y="1067"/>
                    <a:pt x="219" y="1075"/>
                  </a:cubicBezTo>
                  <a:cubicBezTo>
                    <a:pt x="217" y="1081"/>
                    <a:pt x="215" y="1088"/>
                    <a:pt x="213" y="1095"/>
                  </a:cubicBezTo>
                  <a:cubicBezTo>
                    <a:pt x="199" y="1143"/>
                    <a:pt x="184" y="1190"/>
                    <a:pt x="170" y="1238"/>
                  </a:cubicBezTo>
                  <a:cubicBezTo>
                    <a:pt x="167" y="1237"/>
                    <a:pt x="164" y="1237"/>
                    <a:pt x="161" y="1237"/>
                  </a:cubicBezTo>
                  <a:cubicBezTo>
                    <a:pt x="131" y="1233"/>
                    <a:pt x="101" y="1230"/>
                    <a:pt x="71" y="1225"/>
                  </a:cubicBezTo>
                  <a:cubicBezTo>
                    <a:pt x="57" y="1223"/>
                    <a:pt x="47" y="1226"/>
                    <a:pt x="38" y="1236"/>
                  </a:cubicBezTo>
                  <a:lnTo>
                    <a:pt x="32" y="1255"/>
                  </a:lnTo>
                  <a:cubicBezTo>
                    <a:pt x="32" y="1257"/>
                    <a:pt x="32" y="1258"/>
                    <a:pt x="32" y="1260"/>
                  </a:cubicBezTo>
                  <a:cubicBezTo>
                    <a:pt x="28" y="1285"/>
                    <a:pt x="23" y="1309"/>
                    <a:pt x="19" y="1334"/>
                  </a:cubicBezTo>
                  <a:cubicBezTo>
                    <a:pt x="18" y="1337"/>
                    <a:pt x="18" y="1341"/>
                    <a:pt x="17" y="1344"/>
                  </a:cubicBezTo>
                  <a:cubicBezTo>
                    <a:pt x="14" y="1362"/>
                    <a:pt x="22" y="1373"/>
                    <a:pt x="39" y="1377"/>
                  </a:cubicBezTo>
                  <a:cubicBezTo>
                    <a:pt x="43" y="1378"/>
                    <a:pt x="46" y="1379"/>
                    <a:pt x="50" y="1380"/>
                  </a:cubicBezTo>
                  <a:cubicBezTo>
                    <a:pt x="78" y="1386"/>
                    <a:pt x="106" y="1393"/>
                    <a:pt x="134" y="1399"/>
                  </a:cubicBezTo>
                  <a:cubicBezTo>
                    <a:pt x="141" y="1400"/>
                    <a:pt x="142" y="1403"/>
                    <a:pt x="141" y="1409"/>
                  </a:cubicBezTo>
                  <a:lnTo>
                    <a:pt x="140" y="1430"/>
                  </a:lnTo>
                  <a:cubicBezTo>
                    <a:pt x="137" y="1465"/>
                    <a:pt x="134" y="1500"/>
                    <a:pt x="132" y="1535"/>
                  </a:cubicBezTo>
                  <a:cubicBezTo>
                    <a:pt x="131" y="1547"/>
                    <a:pt x="132" y="1559"/>
                    <a:pt x="131" y="1571"/>
                  </a:cubicBezTo>
                  <a:cubicBezTo>
                    <a:pt x="96" y="1574"/>
                    <a:pt x="61" y="1578"/>
                    <a:pt x="27" y="1582"/>
                  </a:cubicBezTo>
                  <a:cubicBezTo>
                    <a:pt x="8" y="1584"/>
                    <a:pt x="0" y="1593"/>
                    <a:pt x="1" y="1612"/>
                  </a:cubicBezTo>
                  <a:cubicBezTo>
                    <a:pt x="2" y="1645"/>
                    <a:pt x="4" y="1677"/>
                    <a:pt x="6" y="1710"/>
                  </a:cubicBezTo>
                  <a:cubicBezTo>
                    <a:pt x="7" y="1728"/>
                    <a:pt x="17" y="1737"/>
                    <a:pt x="35" y="1737"/>
                  </a:cubicBezTo>
                  <a:cubicBezTo>
                    <a:pt x="59" y="1736"/>
                    <a:pt x="83" y="1737"/>
                    <a:pt x="108" y="1736"/>
                  </a:cubicBezTo>
                  <a:cubicBezTo>
                    <a:pt x="116" y="1736"/>
                    <a:pt x="124" y="1736"/>
                    <a:pt x="132" y="1736"/>
                  </a:cubicBezTo>
                  <a:cubicBezTo>
                    <a:pt x="139" y="1736"/>
                    <a:pt x="141" y="1738"/>
                    <a:pt x="142" y="1744"/>
                  </a:cubicBezTo>
                  <a:cubicBezTo>
                    <a:pt x="150" y="1795"/>
                    <a:pt x="159" y="1846"/>
                    <a:pt x="168" y="1897"/>
                  </a:cubicBezTo>
                  <a:cubicBezTo>
                    <a:pt x="169" y="1899"/>
                    <a:pt x="169" y="1901"/>
                    <a:pt x="169" y="1904"/>
                  </a:cubicBezTo>
                  <a:cubicBezTo>
                    <a:pt x="136" y="1915"/>
                    <a:pt x="103" y="1927"/>
                    <a:pt x="70" y="1939"/>
                  </a:cubicBezTo>
                  <a:cubicBezTo>
                    <a:pt x="53" y="1945"/>
                    <a:pt x="47" y="1956"/>
                    <a:pt x="52" y="1973"/>
                  </a:cubicBezTo>
                  <a:cubicBezTo>
                    <a:pt x="57" y="1992"/>
                    <a:pt x="62" y="2010"/>
                    <a:pt x="68" y="2028"/>
                  </a:cubicBezTo>
                  <a:cubicBezTo>
                    <a:pt x="72" y="2041"/>
                    <a:pt x="76" y="2054"/>
                    <a:pt x="80" y="2067"/>
                  </a:cubicBezTo>
                  <a:cubicBezTo>
                    <a:pt x="85" y="2085"/>
                    <a:pt x="97" y="2091"/>
                    <a:pt x="116" y="2087"/>
                  </a:cubicBezTo>
                  <a:cubicBezTo>
                    <a:pt x="149" y="2079"/>
                    <a:pt x="183" y="2071"/>
                    <a:pt x="215" y="2063"/>
                  </a:cubicBezTo>
                  <a:cubicBezTo>
                    <a:pt x="238" y="2115"/>
                    <a:pt x="260" y="2167"/>
                    <a:pt x="282" y="2219"/>
                  </a:cubicBezTo>
                  <a:cubicBezTo>
                    <a:pt x="254" y="2238"/>
                    <a:pt x="224" y="2257"/>
                    <a:pt x="195" y="2276"/>
                  </a:cubicBezTo>
                  <a:cubicBezTo>
                    <a:pt x="191" y="2278"/>
                    <a:pt x="188" y="2281"/>
                    <a:pt x="186" y="2284"/>
                  </a:cubicBezTo>
                  <a:cubicBezTo>
                    <a:pt x="180" y="2292"/>
                    <a:pt x="179" y="2301"/>
                    <a:pt x="183" y="2310"/>
                  </a:cubicBezTo>
                  <a:cubicBezTo>
                    <a:pt x="188" y="2318"/>
                    <a:pt x="192" y="2326"/>
                    <a:pt x="197" y="2334"/>
                  </a:cubicBezTo>
                  <a:cubicBezTo>
                    <a:pt x="210" y="2357"/>
                    <a:pt x="223" y="2380"/>
                    <a:pt x="237" y="2402"/>
                  </a:cubicBezTo>
                  <a:cubicBezTo>
                    <a:pt x="244" y="2415"/>
                    <a:pt x="257" y="2417"/>
                    <a:pt x="271" y="2410"/>
                  </a:cubicBezTo>
                  <a:cubicBezTo>
                    <a:pt x="280" y="2406"/>
                    <a:pt x="290" y="2401"/>
                    <a:pt x="300" y="2396"/>
                  </a:cubicBezTo>
                  <a:cubicBezTo>
                    <a:pt x="305" y="2393"/>
                    <a:pt x="311" y="2390"/>
                    <a:pt x="316" y="2388"/>
                  </a:cubicBezTo>
                  <a:cubicBezTo>
                    <a:pt x="323" y="2384"/>
                    <a:pt x="331" y="2380"/>
                    <a:pt x="338" y="2377"/>
                  </a:cubicBezTo>
                  <a:cubicBezTo>
                    <a:pt x="347" y="2372"/>
                    <a:pt x="356" y="2367"/>
                    <a:pt x="365" y="2363"/>
                  </a:cubicBezTo>
                  <a:cubicBezTo>
                    <a:pt x="368" y="2368"/>
                    <a:pt x="372" y="2373"/>
                    <a:pt x="376" y="2378"/>
                  </a:cubicBezTo>
                  <a:cubicBezTo>
                    <a:pt x="381" y="2386"/>
                    <a:pt x="387" y="2393"/>
                    <a:pt x="392" y="2401"/>
                  </a:cubicBezTo>
                  <a:cubicBezTo>
                    <a:pt x="405" y="2417"/>
                    <a:pt x="417" y="2434"/>
                    <a:pt x="429" y="2450"/>
                  </a:cubicBezTo>
                  <a:cubicBezTo>
                    <a:pt x="442" y="2467"/>
                    <a:pt x="454" y="2483"/>
                    <a:pt x="466" y="2500"/>
                  </a:cubicBezTo>
                  <a:cubicBezTo>
                    <a:pt x="465" y="2501"/>
                    <a:pt x="463" y="2503"/>
                    <a:pt x="462" y="2504"/>
                  </a:cubicBezTo>
                  <a:cubicBezTo>
                    <a:pt x="439" y="2528"/>
                    <a:pt x="416" y="2552"/>
                    <a:pt x="393" y="2576"/>
                  </a:cubicBezTo>
                  <a:cubicBezTo>
                    <a:pt x="390" y="2579"/>
                    <a:pt x="387" y="2583"/>
                    <a:pt x="386" y="2587"/>
                  </a:cubicBezTo>
                  <a:cubicBezTo>
                    <a:pt x="383" y="2596"/>
                    <a:pt x="384" y="2605"/>
                    <a:pt x="392" y="2613"/>
                  </a:cubicBezTo>
                  <a:cubicBezTo>
                    <a:pt x="407" y="2630"/>
                    <a:pt x="423" y="2647"/>
                    <a:pt x="439" y="2664"/>
                  </a:cubicBezTo>
                  <a:cubicBezTo>
                    <a:pt x="446" y="2671"/>
                    <a:pt x="453" y="2679"/>
                    <a:pt x="460" y="2686"/>
                  </a:cubicBezTo>
                  <a:cubicBezTo>
                    <a:pt x="469" y="2695"/>
                    <a:pt x="477" y="2698"/>
                    <a:pt x="486" y="2695"/>
                  </a:cubicBezTo>
                  <a:cubicBezTo>
                    <a:pt x="491" y="2694"/>
                    <a:pt x="495" y="2691"/>
                    <a:pt x="500" y="2687"/>
                  </a:cubicBezTo>
                  <a:cubicBezTo>
                    <a:pt x="527" y="2665"/>
                    <a:pt x="553" y="2643"/>
                    <a:pt x="580" y="2620"/>
                  </a:cubicBezTo>
                  <a:lnTo>
                    <a:pt x="582" y="2621"/>
                  </a:lnTo>
                  <a:cubicBezTo>
                    <a:pt x="594" y="2632"/>
                    <a:pt x="606" y="2642"/>
                    <a:pt x="619" y="2652"/>
                  </a:cubicBezTo>
                  <a:cubicBezTo>
                    <a:pt x="632" y="2664"/>
                    <a:pt x="646" y="2675"/>
                    <a:pt x="659" y="2687"/>
                  </a:cubicBezTo>
                  <a:cubicBezTo>
                    <a:pt x="674" y="2700"/>
                    <a:pt x="689" y="2712"/>
                    <a:pt x="705" y="2725"/>
                  </a:cubicBezTo>
                  <a:cubicBezTo>
                    <a:pt x="709" y="2729"/>
                    <a:pt x="709" y="2732"/>
                    <a:pt x="706" y="2736"/>
                  </a:cubicBezTo>
                  <a:cubicBezTo>
                    <a:pt x="689" y="2764"/>
                    <a:pt x="673" y="2792"/>
                    <a:pt x="657" y="2820"/>
                  </a:cubicBezTo>
                  <a:cubicBezTo>
                    <a:pt x="648" y="2835"/>
                    <a:pt x="650" y="2848"/>
                    <a:pt x="664" y="2858"/>
                  </a:cubicBezTo>
                  <a:cubicBezTo>
                    <a:pt x="673" y="2864"/>
                    <a:pt x="682" y="2870"/>
                    <a:pt x="691" y="2876"/>
                  </a:cubicBezTo>
                  <a:lnTo>
                    <a:pt x="692" y="2877"/>
                  </a:lnTo>
                  <a:cubicBezTo>
                    <a:pt x="706" y="2886"/>
                    <a:pt x="720" y="2896"/>
                    <a:pt x="734" y="2905"/>
                  </a:cubicBezTo>
                  <a:cubicBezTo>
                    <a:pt x="739" y="2908"/>
                    <a:pt x="744" y="2911"/>
                    <a:pt x="749" y="2914"/>
                  </a:cubicBezTo>
                  <a:cubicBezTo>
                    <a:pt x="762" y="2923"/>
                    <a:pt x="775" y="2919"/>
                    <a:pt x="785" y="2907"/>
                  </a:cubicBezTo>
                  <a:cubicBezTo>
                    <a:pt x="789" y="2901"/>
                    <a:pt x="793" y="2895"/>
                    <a:pt x="798" y="2889"/>
                  </a:cubicBezTo>
                  <a:lnTo>
                    <a:pt x="800" y="2886"/>
                  </a:lnTo>
                  <a:cubicBezTo>
                    <a:pt x="813" y="2868"/>
                    <a:pt x="827" y="2850"/>
                    <a:pt x="840" y="2832"/>
                  </a:cubicBezTo>
                  <a:cubicBezTo>
                    <a:pt x="842" y="2829"/>
                    <a:pt x="845" y="2825"/>
                    <a:pt x="847" y="2822"/>
                  </a:cubicBezTo>
                  <a:cubicBezTo>
                    <a:pt x="857" y="2827"/>
                    <a:pt x="867" y="2832"/>
                    <a:pt x="877" y="2837"/>
                  </a:cubicBezTo>
                  <a:cubicBezTo>
                    <a:pt x="918" y="2858"/>
                    <a:pt x="958" y="2878"/>
                    <a:pt x="999" y="2899"/>
                  </a:cubicBezTo>
                  <a:cubicBezTo>
                    <a:pt x="999" y="2901"/>
                    <a:pt x="998" y="2905"/>
                    <a:pt x="997" y="2908"/>
                  </a:cubicBezTo>
                  <a:lnTo>
                    <a:pt x="969" y="2997"/>
                  </a:lnTo>
                  <a:cubicBezTo>
                    <a:pt x="963" y="3016"/>
                    <a:pt x="969" y="3027"/>
                    <a:pt x="988" y="3034"/>
                  </a:cubicBezTo>
                  <a:cubicBezTo>
                    <a:pt x="1010" y="3043"/>
                    <a:pt x="1032" y="3052"/>
                    <a:pt x="1055" y="3060"/>
                  </a:cubicBezTo>
                  <a:cubicBezTo>
                    <a:pt x="1066" y="3064"/>
                    <a:pt x="1077" y="3067"/>
                    <a:pt x="1088" y="3071"/>
                  </a:cubicBezTo>
                  <a:cubicBezTo>
                    <a:pt x="1102" y="3069"/>
                    <a:pt x="1110" y="3061"/>
                    <a:pt x="1116" y="3048"/>
                  </a:cubicBezTo>
                  <a:cubicBezTo>
                    <a:pt x="1126" y="3021"/>
                    <a:pt x="1138" y="2994"/>
                    <a:pt x="1150" y="2967"/>
                  </a:cubicBezTo>
                  <a:cubicBezTo>
                    <a:pt x="1155" y="2954"/>
                    <a:pt x="1155" y="2954"/>
                    <a:pt x="1169" y="2958"/>
                  </a:cubicBezTo>
                  <a:cubicBezTo>
                    <a:pt x="1198" y="2966"/>
                    <a:pt x="1227" y="2973"/>
                    <a:pt x="1256" y="2980"/>
                  </a:cubicBezTo>
                  <a:cubicBezTo>
                    <a:pt x="1277" y="2986"/>
                    <a:pt x="1299" y="2990"/>
                    <a:pt x="1320" y="2995"/>
                  </a:cubicBezTo>
                  <a:cubicBezTo>
                    <a:pt x="1320" y="2998"/>
                    <a:pt x="1320" y="3001"/>
                    <a:pt x="1320" y="3004"/>
                  </a:cubicBezTo>
                  <a:cubicBezTo>
                    <a:pt x="1318" y="3035"/>
                    <a:pt x="1316" y="3066"/>
                    <a:pt x="1313" y="3097"/>
                  </a:cubicBezTo>
                  <a:cubicBezTo>
                    <a:pt x="1312" y="3114"/>
                    <a:pt x="1319" y="3127"/>
                    <a:pt x="1339" y="3130"/>
                  </a:cubicBezTo>
                  <a:cubicBezTo>
                    <a:pt x="1372" y="3135"/>
                    <a:pt x="1405" y="3139"/>
                    <a:pt x="1439" y="3142"/>
                  </a:cubicBezTo>
                  <a:cubicBezTo>
                    <a:pt x="1453" y="3144"/>
                    <a:pt x="1463" y="3135"/>
                    <a:pt x="1466" y="3121"/>
                  </a:cubicBezTo>
                  <a:cubicBezTo>
                    <a:pt x="1470" y="3101"/>
                    <a:pt x="1473" y="3081"/>
                    <a:pt x="1477" y="3061"/>
                  </a:cubicBezTo>
                  <a:cubicBezTo>
                    <a:pt x="1480" y="3045"/>
                    <a:pt x="1482" y="3030"/>
                    <a:pt x="1485" y="3016"/>
                  </a:cubicBezTo>
                  <a:cubicBezTo>
                    <a:pt x="1543" y="3016"/>
                    <a:pt x="1599" y="3016"/>
                    <a:pt x="1655" y="3016"/>
                  </a:cubicBezTo>
                  <a:cubicBezTo>
                    <a:pt x="1661" y="3050"/>
                    <a:pt x="1667" y="3085"/>
                    <a:pt x="1672" y="3119"/>
                  </a:cubicBezTo>
                  <a:cubicBezTo>
                    <a:pt x="1675" y="3135"/>
                    <a:pt x="1685" y="3144"/>
                    <a:pt x="1700" y="3143"/>
                  </a:cubicBezTo>
                  <a:cubicBezTo>
                    <a:pt x="1735" y="3139"/>
                    <a:pt x="1770" y="3135"/>
                    <a:pt x="1806" y="3131"/>
                  </a:cubicBezTo>
                  <a:cubicBezTo>
                    <a:pt x="1819" y="3129"/>
                    <a:pt x="1827" y="3119"/>
                    <a:pt x="1826" y="3105"/>
                  </a:cubicBezTo>
                  <a:cubicBezTo>
                    <a:pt x="1826" y="3094"/>
                    <a:pt x="1825" y="3083"/>
                    <a:pt x="1824" y="3072"/>
                  </a:cubicBezTo>
                  <a:cubicBezTo>
                    <a:pt x="1823" y="3047"/>
                    <a:pt x="1821" y="3022"/>
                    <a:pt x="1820" y="2997"/>
                  </a:cubicBezTo>
                  <a:cubicBezTo>
                    <a:pt x="1875" y="2984"/>
                    <a:pt x="1930" y="2972"/>
                    <a:pt x="1986" y="2958"/>
                  </a:cubicBezTo>
                  <a:cubicBezTo>
                    <a:pt x="1986" y="2960"/>
                    <a:pt x="1988" y="2963"/>
                    <a:pt x="1989" y="2966"/>
                  </a:cubicBezTo>
                  <a:cubicBezTo>
                    <a:pt x="2001" y="2996"/>
                    <a:pt x="2014" y="3025"/>
                    <a:pt x="2026" y="3055"/>
                  </a:cubicBezTo>
                  <a:cubicBezTo>
                    <a:pt x="2033" y="3071"/>
                    <a:pt x="2045" y="3076"/>
                    <a:pt x="2061" y="3071"/>
                  </a:cubicBezTo>
                  <a:cubicBezTo>
                    <a:pt x="2092" y="3060"/>
                    <a:pt x="2124" y="3048"/>
                    <a:pt x="2156" y="3036"/>
                  </a:cubicBezTo>
                  <a:cubicBezTo>
                    <a:pt x="2171" y="3031"/>
                    <a:pt x="2176" y="3018"/>
                    <a:pt x="2172" y="3003"/>
                  </a:cubicBezTo>
                  <a:cubicBezTo>
                    <a:pt x="2163" y="2973"/>
                    <a:pt x="2153" y="2943"/>
                    <a:pt x="2144" y="2913"/>
                  </a:cubicBezTo>
                  <a:cubicBezTo>
                    <a:pt x="2143" y="2909"/>
                    <a:pt x="2142" y="2905"/>
                    <a:pt x="2142" y="2902"/>
                  </a:cubicBezTo>
                  <a:cubicBezTo>
                    <a:pt x="2193" y="2876"/>
                    <a:pt x="2243" y="2851"/>
                    <a:pt x="2294" y="2826"/>
                  </a:cubicBezTo>
                  <a:cubicBezTo>
                    <a:pt x="2314" y="2854"/>
                    <a:pt x="2335" y="2883"/>
                    <a:pt x="2356" y="2911"/>
                  </a:cubicBezTo>
                  <a:cubicBezTo>
                    <a:pt x="2365" y="2924"/>
                    <a:pt x="2378" y="2927"/>
                    <a:pt x="2391" y="2919"/>
                  </a:cubicBezTo>
                  <a:cubicBezTo>
                    <a:pt x="2420" y="2901"/>
                    <a:pt x="2450" y="2882"/>
                    <a:pt x="2478" y="2862"/>
                  </a:cubicBezTo>
                  <a:cubicBezTo>
                    <a:pt x="2487" y="2856"/>
                    <a:pt x="2491" y="2847"/>
                    <a:pt x="2489" y="2838"/>
                  </a:cubicBezTo>
                  <a:lnTo>
                    <a:pt x="2489" y="2838"/>
                  </a:lnTo>
                  <a:cubicBezTo>
                    <a:pt x="2489" y="2834"/>
                    <a:pt x="2487" y="2831"/>
                    <a:pt x="2485" y="2827"/>
                  </a:cubicBezTo>
                  <a:lnTo>
                    <a:pt x="2484" y="2825"/>
                  </a:lnTo>
                  <a:cubicBezTo>
                    <a:pt x="2480" y="2817"/>
                    <a:pt x="2475" y="2808"/>
                    <a:pt x="2470" y="2800"/>
                  </a:cubicBezTo>
                  <a:cubicBezTo>
                    <a:pt x="2457" y="2778"/>
                    <a:pt x="2444" y="2756"/>
                    <a:pt x="2432" y="2736"/>
                  </a:cubicBezTo>
                  <a:cubicBezTo>
                    <a:pt x="2467" y="2707"/>
                    <a:pt x="2502" y="2678"/>
                    <a:pt x="2536" y="2649"/>
                  </a:cubicBezTo>
                  <a:cubicBezTo>
                    <a:pt x="2545" y="2642"/>
                    <a:pt x="2554" y="2634"/>
                    <a:pt x="2563" y="2627"/>
                  </a:cubicBezTo>
                  <a:cubicBezTo>
                    <a:pt x="2565" y="2628"/>
                    <a:pt x="2568" y="2630"/>
                    <a:pt x="2571" y="2633"/>
                  </a:cubicBezTo>
                  <a:cubicBezTo>
                    <a:pt x="2576" y="2637"/>
                    <a:pt x="2581" y="2642"/>
                    <a:pt x="2587" y="2646"/>
                  </a:cubicBezTo>
                  <a:cubicBezTo>
                    <a:pt x="2592" y="2651"/>
                    <a:pt x="2597" y="2655"/>
                    <a:pt x="2602" y="2659"/>
                  </a:cubicBezTo>
                  <a:cubicBezTo>
                    <a:pt x="2615" y="2671"/>
                    <a:pt x="2629" y="2683"/>
                    <a:pt x="2642" y="2694"/>
                  </a:cubicBezTo>
                  <a:cubicBezTo>
                    <a:pt x="2656" y="2706"/>
                    <a:pt x="2669" y="2706"/>
                    <a:pt x="2682" y="2693"/>
                  </a:cubicBezTo>
                  <a:cubicBezTo>
                    <a:pt x="2687" y="2687"/>
                    <a:pt x="2693" y="2681"/>
                    <a:pt x="2699" y="2675"/>
                  </a:cubicBezTo>
                  <a:cubicBezTo>
                    <a:pt x="2710" y="2664"/>
                    <a:pt x="2720" y="2653"/>
                    <a:pt x="2730" y="2642"/>
                  </a:cubicBezTo>
                  <a:cubicBezTo>
                    <a:pt x="2736" y="2635"/>
                    <a:pt x="2743" y="2628"/>
                    <a:pt x="2749" y="2622"/>
                  </a:cubicBezTo>
                  <a:cubicBezTo>
                    <a:pt x="2751" y="2619"/>
                    <a:pt x="2753" y="2617"/>
                    <a:pt x="2754" y="2614"/>
                  </a:cubicBezTo>
                  <a:cubicBezTo>
                    <a:pt x="2761" y="2603"/>
                    <a:pt x="2759" y="2592"/>
                    <a:pt x="2748" y="2581"/>
                  </a:cubicBezTo>
                  <a:cubicBezTo>
                    <a:pt x="2741" y="2574"/>
                    <a:pt x="2734" y="2567"/>
                    <a:pt x="2727" y="2559"/>
                  </a:cubicBezTo>
                  <a:lnTo>
                    <a:pt x="2727" y="2559"/>
                  </a:lnTo>
                  <a:cubicBezTo>
                    <a:pt x="2720" y="2552"/>
                    <a:pt x="2713" y="2544"/>
                    <a:pt x="2706" y="2536"/>
                  </a:cubicBezTo>
                  <a:cubicBezTo>
                    <a:pt x="2698" y="2528"/>
                    <a:pt x="2689" y="2519"/>
                    <a:pt x="2681" y="2511"/>
                  </a:cubicBezTo>
                  <a:cubicBezTo>
                    <a:pt x="2680" y="2509"/>
                    <a:pt x="2678" y="2507"/>
                    <a:pt x="2678" y="2506"/>
                  </a:cubicBezTo>
                  <a:cubicBezTo>
                    <a:pt x="2685" y="2496"/>
                    <a:pt x="2693" y="2486"/>
                    <a:pt x="2701" y="2476"/>
                  </a:cubicBezTo>
                  <a:cubicBezTo>
                    <a:pt x="2727" y="2440"/>
                    <a:pt x="2753" y="2406"/>
                    <a:pt x="2779" y="2371"/>
                  </a:cubicBezTo>
                  <a:lnTo>
                    <a:pt x="2782" y="2371"/>
                  </a:lnTo>
                  <a:cubicBezTo>
                    <a:pt x="2812" y="2387"/>
                    <a:pt x="2841" y="2402"/>
                    <a:pt x="2870" y="2417"/>
                  </a:cubicBezTo>
                  <a:cubicBezTo>
                    <a:pt x="2887" y="2426"/>
                    <a:pt x="2900" y="2423"/>
                    <a:pt x="2910" y="2407"/>
                  </a:cubicBezTo>
                  <a:cubicBezTo>
                    <a:pt x="2920" y="2391"/>
                    <a:pt x="2929" y="2375"/>
                    <a:pt x="2939" y="2359"/>
                  </a:cubicBezTo>
                  <a:cubicBezTo>
                    <a:pt x="2945" y="2347"/>
                    <a:pt x="2952" y="2336"/>
                    <a:pt x="2959" y="2324"/>
                  </a:cubicBezTo>
                  <a:cubicBezTo>
                    <a:pt x="2968" y="2307"/>
                    <a:pt x="2965" y="2294"/>
                    <a:pt x="2949" y="2283"/>
                  </a:cubicBezTo>
                  <a:cubicBezTo>
                    <a:pt x="2942" y="2278"/>
                    <a:pt x="2934" y="2274"/>
                    <a:pt x="2927" y="2269"/>
                  </a:cubicBezTo>
                  <a:lnTo>
                    <a:pt x="2923" y="2266"/>
                  </a:lnTo>
                  <a:cubicBezTo>
                    <a:pt x="2903" y="2253"/>
                    <a:pt x="2882" y="2240"/>
                    <a:pt x="2863" y="2227"/>
                  </a:cubicBezTo>
                  <a:cubicBezTo>
                    <a:pt x="2864" y="2224"/>
                    <a:pt x="2865" y="2221"/>
                    <a:pt x="2866" y="2218"/>
                  </a:cubicBezTo>
                  <a:cubicBezTo>
                    <a:pt x="2870" y="2211"/>
                    <a:pt x="2873" y="2204"/>
                    <a:pt x="2876" y="2196"/>
                  </a:cubicBezTo>
                  <a:cubicBezTo>
                    <a:pt x="2891" y="2163"/>
                    <a:pt x="2905" y="2129"/>
                    <a:pt x="2919" y="2096"/>
                  </a:cubicBezTo>
                  <a:cubicBezTo>
                    <a:pt x="2923" y="2087"/>
                    <a:pt x="2927" y="2079"/>
                    <a:pt x="2930" y="2071"/>
                  </a:cubicBezTo>
                  <a:cubicBezTo>
                    <a:pt x="2957" y="2077"/>
                    <a:pt x="2984" y="2084"/>
                    <a:pt x="3010" y="2090"/>
                  </a:cubicBezTo>
                  <a:lnTo>
                    <a:pt x="3011" y="2091"/>
                  </a:lnTo>
                  <a:cubicBezTo>
                    <a:pt x="3018" y="2092"/>
                    <a:pt x="3025" y="2094"/>
                    <a:pt x="3032" y="2096"/>
                  </a:cubicBezTo>
                  <a:cubicBezTo>
                    <a:pt x="3047" y="2100"/>
                    <a:pt x="3059" y="2094"/>
                    <a:pt x="3065" y="2079"/>
                  </a:cubicBezTo>
                  <a:cubicBezTo>
                    <a:pt x="3066" y="2076"/>
                    <a:pt x="3068" y="2072"/>
                    <a:pt x="3069" y="2069"/>
                  </a:cubicBezTo>
                  <a:cubicBezTo>
                    <a:pt x="3077" y="2043"/>
                    <a:pt x="3085" y="2017"/>
                    <a:pt x="3093" y="1991"/>
                  </a:cubicBezTo>
                  <a:cubicBezTo>
                    <a:pt x="3093" y="1988"/>
                    <a:pt x="3093" y="1985"/>
                    <a:pt x="3094" y="1982"/>
                  </a:cubicBezTo>
                  <a:cubicBezTo>
                    <a:pt x="3098" y="1964"/>
                    <a:pt x="3093" y="1954"/>
                    <a:pt x="3076" y="1948"/>
                  </a:cubicBezTo>
                  <a:cubicBezTo>
                    <a:pt x="3064" y="1944"/>
                    <a:pt x="3053" y="1939"/>
                    <a:pt x="3041" y="1935"/>
                  </a:cubicBezTo>
                  <a:lnTo>
                    <a:pt x="3040" y="1935"/>
                  </a:lnTo>
                  <a:cubicBezTo>
                    <a:pt x="3023" y="1929"/>
                    <a:pt x="3006" y="1922"/>
                    <a:pt x="2988" y="1916"/>
                  </a:cubicBezTo>
                  <a:cubicBezTo>
                    <a:pt x="2985" y="1915"/>
                    <a:pt x="2981" y="1913"/>
                    <a:pt x="2977" y="1912"/>
                  </a:cubicBezTo>
                  <a:cubicBezTo>
                    <a:pt x="2978" y="1908"/>
                    <a:pt x="2978" y="1905"/>
                    <a:pt x="2979" y="1902"/>
                  </a:cubicBezTo>
                  <a:cubicBezTo>
                    <a:pt x="2987" y="1858"/>
                    <a:pt x="2995" y="1815"/>
                    <a:pt x="3002" y="1771"/>
                  </a:cubicBezTo>
                  <a:cubicBezTo>
                    <a:pt x="3003" y="1765"/>
                    <a:pt x="3004" y="1758"/>
                    <a:pt x="3006" y="1752"/>
                  </a:cubicBezTo>
                  <a:cubicBezTo>
                    <a:pt x="3007" y="1746"/>
                    <a:pt x="3009" y="1744"/>
                    <a:pt x="3015" y="1744"/>
                  </a:cubicBezTo>
                  <a:cubicBezTo>
                    <a:pt x="3038" y="1745"/>
                    <a:pt x="3061" y="1745"/>
                    <a:pt x="3084" y="1745"/>
                  </a:cubicBezTo>
                  <a:cubicBezTo>
                    <a:pt x="3093" y="1745"/>
                    <a:pt x="3103" y="1745"/>
                    <a:pt x="3112" y="1746"/>
                  </a:cubicBezTo>
                  <a:cubicBezTo>
                    <a:pt x="3130" y="1746"/>
                    <a:pt x="3141" y="1737"/>
                    <a:pt x="3142" y="1720"/>
                  </a:cubicBezTo>
                  <a:cubicBezTo>
                    <a:pt x="3144" y="1687"/>
                    <a:pt x="3146" y="1654"/>
                    <a:pt x="3148" y="1621"/>
                  </a:cubicBezTo>
                  <a:cubicBezTo>
                    <a:pt x="3148" y="1612"/>
                    <a:pt x="3146" y="1606"/>
                    <a:pt x="3142" y="1601"/>
                  </a:cubicBezTo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5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0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5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0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5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0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  <a:moveTo>
                    <a:pt x="1741" y="1187"/>
                  </a:moveTo>
                  <a:cubicBezTo>
                    <a:pt x="1733" y="1193"/>
                    <a:pt x="1728" y="1202"/>
                    <a:pt x="1721" y="1209"/>
                  </a:cubicBezTo>
                  <a:cubicBezTo>
                    <a:pt x="1732" y="1237"/>
                    <a:pt x="1737" y="1265"/>
                    <a:pt x="1751" y="1291"/>
                  </a:cubicBezTo>
                  <a:lnTo>
                    <a:pt x="1795" y="1146"/>
                  </a:lnTo>
                  <a:cubicBezTo>
                    <a:pt x="1777" y="1160"/>
                    <a:pt x="1759" y="1173"/>
                    <a:pt x="1741" y="1187"/>
                  </a:cubicBezTo>
                  <a:moveTo>
                    <a:pt x="1380" y="1702"/>
                  </a:moveTo>
                  <a:cubicBezTo>
                    <a:pt x="1378" y="1701"/>
                    <a:pt x="1376" y="1699"/>
                    <a:pt x="1374" y="1698"/>
                  </a:cubicBezTo>
                  <a:cubicBezTo>
                    <a:pt x="1364" y="1689"/>
                    <a:pt x="1355" y="1679"/>
                    <a:pt x="1346" y="1668"/>
                  </a:cubicBezTo>
                  <a:cubicBezTo>
                    <a:pt x="1344" y="1665"/>
                    <a:pt x="1342" y="1662"/>
                    <a:pt x="1340" y="1659"/>
                  </a:cubicBezTo>
                  <a:cubicBezTo>
                    <a:pt x="1337" y="1655"/>
                    <a:pt x="1334" y="1650"/>
                    <a:pt x="1331" y="1645"/>
                  </a:cubicBezTo>
                  <a:cubicBezTo>
                    <a:pt x="1330" y="1643"/>
                    <a:pt x="1329" y="1640"/>
                    <a:pt x="1327" y="1638"/>
                  </a:cubicBezTo>
                  <a:cubicBezTo>
                    <a:pt x="1326" y="1635"/>
                    <a:pt x="1325" y="1633"/>
                    <a:pt x="1323" y="1630"/>
                  </a:cubicBezTo>
                  <a:cubicBezTo>
                    <a:pt x="1322" y="1628"/>
                    <a:pt x="1322" y="1626"/>
                    <a:pt x="1321" y="1624"/>
                  </a:cubicBezTo>
                  <a:cubicBezTo>
                    <a:pt x="1319" y="1621"/>
                    <a:pt x="1318" y="1618"/>
                    <a:pt x="1317" y="1615"/>
                  </a:cubicBezTo>
                  <a:cubicBezTo>
                    <a:pt x="1316" y="1611"/>
                    <a:pt x="1314" y="1606"/>
                    <a:pt x="1313" y="1602"/>
                  </a:cubicBezTo>
                  <a:cubicBezTo>
                    <a:pt x="1311" y="1597"/>
                    <a:pt x="1310" y="1592"/>
                    <a:pt x="1309" y="1588"/>
                  </a:cubicBezTo>
                  <a:cubicBezTo>
                    <a:pt x="1309" y="1584"/>
                    <a:pt x="1308" y="1581"/>
                    <a:pt x="1307" y="1577"/>
                  </a:cubicBezTo>
                  <a:cubicBezTo>
                    <a:pt x="1306" y="1569"/>
                    <a:pt x="1305" y="1561"/>
                    <a:pt x="1305" y="1554"/>
                  </a:cubicBezTo>
                  <a:lnTo>
                    <a:pt x="1305" y="1552"/>
                  </a:lnTo>
                  <a:lnTo>
                    <a:pt x="1302" y="1552"/>
                  </a:lnTo>
                  <a:lnTo>
                    <a:pt x="1084" y="1603"/>
                  </a:lnTo>
                  <a:lnTo>
                    <a:pt x="847" y="1659"/>
                  </a:lnTo>
                  <a:lnTo>
                    <a:pt x="768" y="1677"/>
                  </a:lnTo>
                  <a:lnTo>
                    <a:pt x="612" y="1714"/>
                  </a:lnTo>
                  <a:cubicBezTo>
                    <a:pt x="615" y="1715"/>
                    <a:pt x="618" y="1716"/>
                    <a:pt x="621" y="1718"/>
                  </a:cubicBezTo>
                  <a:lnTo>
                    <a:pt x="621" y="1718"/>
                  </a:lnTo>
                  <a:lnTo>
                    <a:pt x="624" y="1720"/>
                  </a:lnTo>
                  <a:cubicBezTo>
                    <a:pt x="628" y="1722"/>
                    <a:pt x="632" y="1724"/>
                    <a:pt x="635" y="1727"/>
                  </a:cubicBezTo>
                  <a:cubicBezTo>
                    <a:pt x="637" y="1728"/>
                    <a:pt x="639" y="1729"/>
                    <a:pt x="641" y="1731"/>
                  </a:cubicBezTo>
                  <a:lnTo>
                    <a:pt x="644" y="1733"/>
                  </a:lnTo>
                  <a:lnTo>
                    <a:pt x="646" y="1735"/>
                  </a:lnTo>
                  <a:cubicBezTo>
                    <a:pt x="647" y="1736"/>
                    <a:pt x="649" y="1737"/>
                    <a:pt x="650" y="1739"/>
                  </a:cubicBezTo>
                  <a:cubicBezTo>
                    <a:pt x="652" y="1741"/>
                    <a:pt x="654" y="1742"/>
                    <a:pt x="655" y="1744"/>
                  </a:cubicBezTo>
                  <a:lnTo>
                    <a:pt x="658" y="1747"/>
                  </a:lnTo>
                  <a:cubicBezTo>
                    <a:pt x="661" y="1750"/>
                    <a:pt x="663" y="1753"/>
                    <a:pt x="665" y="1755"/>
                  </a:cubicBezTo>
                  <a:cubicBezTo>
                    <a:pt x="667" y="1758"/>
                    <a:pt x="669" y="1760"/>
                    <a:pt x="670" y="1763"/>
                  </a:cubicBezTo>
                  <a:lnTo>
                    <a:pt x="671" y="1764"/>
                  </a:lnTo>
                  <a:cubicBezTo>
                    <a:pt x="672" y="1766"/>
                    <a:pt x="673" y="1768"/>
                    <a:pt x="674" y="1770"/>
                  </a:cubicBezTo>
                  <a:cubicBezTo>
                    <a:pt x="676" y="1772"/>
                    <a:pt x="677" y="1775"/>
                    <a:pt x="678" y="1777"/>
                  </a:cubicBezTo>
                  <a:cubicBezTo>
                    <a:pt x="680" y="1780"/>
                    <a:pt x="681" y="1783"/>
                    <a:pt x="682" y="1785"/>
                  </a:cubicBezTo>
                  <a:cubicBezTo>
                    <a:pt x="683" y="1787"/>
                    <a:pt x="684" y="1789"/>
                    <a:pt x="684" y="1791"/>
                  </a:cubicBezTo>
                  <a:lnTo>
                    <a:pt x="685" y="1792"/>
                  </a:lnTo>
                  <a:cubicBezTo>
                    <a:pt x="685" y="1794"/>
                    <a:pt x="686" y="1796"/>
                    <a:pt x="687" y="1798"/>
                  </a:cubicBezTo>
                  <a:cubicBezTo>
                    <a:pt x="688" y="1802"/>
                    <a:pt x="689" y="1805"/>
                    <a:pt x="689" y="1809"/>
                  </a:cubicBezTo>
                  <a:lnTo>
                    <a:pt x="689" y="1809"/>
                  </a:lnTo>
                  <a:lnTo>
                    <a:pt x="689" y="1809"/>
                  </a:lnTo>
                  <a:lnTo>
                    <a:pt x="690" y="1811"/>
                  </a:lnTo>
                  <a:lnTo>
                    <a:pt x="690" y="1812"/>
                  </a:lnTo>
                  <a:lnTo>
                    <a:pt x="690" y="1815"/>
                  </a:lnTo>
                  <a:cubicBezTo>
                    <a:pt x="691" y="1818"/>
                    <a:pt x="691" y="1820"/>
                    <a:pt x="691" y="1823"/>
                  </a:cubicBezTo>
                  <a:cubicBezTo>
                    <a:pt x="692" y="1827"/>
                    <a:pt x="692" y="1831"/>
                    <a:pt x="692" y="1835"/>
                  </a:cubicBezTo>
                  <a:cubicBezTo>
                    <a:pt x="692" y="1839"/>
                    <a:pt x="692" y="1843"/>
                    <a:pt x="691" y="1847"/>
                  </a:cubicBezTo>
                  <a:lnTo>
                    <a:pt x="689" y="1869"/>
                  </a:lnTo>
                  <a:lnTo>
                    <a:pt x="753" y="1854"/>
                  </a:lnTo>
                  <a:lnTo>
                    <a:pt x="831" y="1836"/>
                  </a:lnTo>
                  <a:lnTo>
                    <a:pt x="1012" y="1794"/>
                  </a:lnTo>
                  <a:lnTo>
                    <a:pt x="1165" y="1758"/>
                  </a:lnTo>
                  <a:lnTo>
                    <a:pt x="1303" y="1726"/>
                  </a:lnTo>
                  <a:lnTo>
                    <a:pt x="1385" y="1706"/>
                  </a:lnTo>
                  <a:cubicBezTo>
                    <a:pt x="1383" y="1705"/>
                    <a:pt x="1382" y="1704"/>
                    <a:pt x="1380" y="1702"/>
                  </a:cubicBezTo>
                  <a:close/>
                  <a:moveTo>
                    <a:pt x="1306" y="2178"/>
                  </a:moveTo>
                  <a:lnTo>
                    <a:pt x="1293" y="2222"/>
                  </a:lnTo>
                  <a:lnTo>
                    <a:pt x="1279" y="2266"/>
                  </a:lnTo>
                  <a:cubicBezTo>
                    <a:pt x="1286" y="2261"/>
                    <a:pt x="1292" y="2256"/>
                    <a:pt x="1298" y="2251"/>
                  </a:cubicBezTo>
                  <a:cubicBezTo>
                    <a:pt x="1306" y="2245"/>
                    <a:pt x="1313" y="2238"/>
                    <a:pt x="1320" y="2231"/>
                  </a:cubicBezTo>
                  <a:lnTo>
                    <a:pt x="1322" y="2230"/>
                  </a:lnTo>
                  <a:lnTo>
                    <a:pt x="1322" y="2230"/>
                  </a:lnTo>
                  <a:cubicBezTo>
                    <a:pt x="1329" y="2224"/>
                    <a:pt x="1335" y="2217"/>
                    <a:pt x="1342" y="2211"/>
                  </a:cubicBezTo>
                  <a:cubicBezTo>
                    <a:pt x="1347" y="2206"/>
                    <a:pt x="1351" y="2202"/>
                    <a:pt x="1355" y="2197"/>
                  </a:cubicBezTo>
                  <a:cubicBezTo>
                    <a:pt x="1357" y="2196"/>
                    <a:pt x="1358" y="2194"/>
                    <a:pt x="1360" y="2193"/>
                  </a:cubicBezTo>
                  <a:cubicBezTo>
                    <a:pt x="1342" y="2188"/>
                    <a:pt x="1324" y="2183"/>
                    <a:pt x="1306" y="2178"/>
                  </a:cubicBezTo>
                  <a:moveTo>
                    <a:pt x="1386" y="2411"/>
                  </a:moveTo>
                  <a:cubicBezTo>
                    <a:pt x="1359" y="2432"/>
                    <a:pt x="1331" y="2446"/>
                    <a:pt x="1311" y="2470"/>
                  </a:cubicBezTo>
                  <a:cubicBezTo>
                    <a:pt x="1314" y="2483"/>
                    <a:pt x="1318" y="2496"/>
                    <a:pt x="1322" y="2508"/>
                  </a:cubicBezTo>
                  <a:cubicBezTo>
                    <a:pt x="1325" y="2519"/>
                    <a:pt x="1328" y="2529"/>
                    <a:pt x="1332" y="2540"/>
                  </a:cubicBezTo>
                  <a:cubicBezTo>
                    <a:pt x="1337" y="2557"/>
                    <a:pt x="1343" y="2574"/>
                    <a:pt x="1348" y="2591"/>
                  </a:cubicBezTo>
                  <a:cubicBezTo>
                    <a:pt x="1349" y="2595"/>
                    <a:pt x="1350" y="2600"/>
                    <a:pt x="1351" y="2604"/>
                  </a:cubicBezTo>
                  <a:cubicBezTo>
                    <a:pt x="1352" y="2605"/>
                    <a:pt x="1352" y="2607"/>
                    <a:pt x="1352" y="2608"/>
                  </a:cubicBezTo>
                  <a:lnTo>
                    <a:pt x="1407" y="2426"/>
                  </a:lnTo>
                  <a:lnTo>
                    <a:pt x="1386" y="2411"/>
                  </a:lnTo>
                  <a:moveTo>
                    <a:pt x="1505" y="1747"/>
                  </a:moveTo>
                  <a:cubicBezTo>
                    <a:pt x="1501" y="1747"/>
                    <a:pt x="1498" y="1746"/>
                    <a:pt x="1495" y="1746"/>
                  </a:cubicBezTo>
                  <a:cubicBezTo>
                    <a:pt x="1492" y="1746"/>
                    <a:pt x="1489" y="1746"/>
                    <a:pt x="1487" y="1746"/>
                  </a:cubicBezTo>
                  <a:cubicBezTo>
                    <a:pt x="1484" y="1745"/>
                    <a:pt x="1482" y="1745"/>
                    <a:pt x="1480" y="1745"/>
                  </a:cubicBezTo>
                  <a:lnTo>
                    <a:pt x="1476" y="1744"/>
                  </a:lnTo>
                  <a:lnTo>
                    <a:pt x="1472" y="1744"/>
                  </a:lnTo>
                  <a:cubicBezTo>
                    <a:pt x="1464" y="1743"/>
                    <a:pt x="1457" y="1741"/>
                    <a:pt x="1450" y="1739"/>
                  </a:cubicBezTo>
                  <a:cubicBezTo>
                    <a:pt x="1447" y="1738"/>
                    <a:pt x="1444" y="1737"/>
                    <a:pt x="1441" y="1736"/>
                  </a:cubicBezTo>
                  <a:lnTo>
                    <a:pt x="1440" y="1736"/>
                  </a:lnTo>
                  <a:lnTo>
                    <a:pt x="1418" y="1808"/>
                  </a:lnTo>
                  <a:lnTo>
                    <a:pt x="1346" y="2048"/>
                  </a:lnTo>
                  <a:lnTo>
                    <a:pt x="1306" y="2178"/>
                  </a:lnTo>
                  <a:cubicBezTo>
                    <a:pt x="1324" y="2183"/>
                    <a:pt x="1342" y="2188"/>
                    <a:pt x="1360" y="2193"/>
                  </a:cubicBezTo>
                  <a:lnTo>
                    <a:pt x="1360" y="2193"/>
                  </a:lnTo>
                  <a:cubicBezTo>
                    <a:pt x="1363" y="2190"/>
                    <a:pt x="1366" y="2187"/>
                    <a:pt x="1368" y="2184"/>
                  </a:cubicBezTo>
                  <a:cubicBezTo>
                    <a:pt x="1374" y="2179"/>
                    <a:pt x="1378" y="2173"/>
                    <a:pt x="1383" y="2168"/>
                  </a:cubicBezTo>
                  <a:cubicBezTo>
                    <a:pt x="1390" y="2161"/>
                    <a:pt x="1396" y="2153"/>
                    <a:pt x="1402" y="2146"/>
                  </a:cubicBezTo>
                  <a:lnTo>
                    <a:pt x="1403" y="2145"/>
                  </a:lnTo>
                  <a:cubicBezTo>
                    <a:pt x="1409" y="2137"/>
                    <a:pt x="1415" y="2130"/>
                    <a:pt x="1422" y="2122"/>
                  </a:cubicBezTo>
                  <a:cubicBezTo>
                    <a:pt x="1434" y="2106"/>
                    <a:pt x="1446" y="2090"/>
                    <a:pt x="1457" y="2073"/>
                  </a:cubicBezTo>
                  <a:cubicBezTo>
                    <a:pt x="1463" y="2064"/>
                    <a:pt x="1469" y="2055"/>
                    <a:pt x="1475" y="2045"/>
                  </a:cubicBezTo>
                  <a:cubicBezTo>
                    <a:pt x="1480" y="2038"/>
                    <a:pt x="1484" y="2030"/>
                    <a:pt x="1489" y="2023"/>
                  </a:cubicBezTo>
                  <a:cubicBezTo>
                    <a:pt x="1493" y="2015"/>
                    <a:pt x="1497" y="2008"/>
                    <a:pt x="1501" y="2001"/>
                  </a:cubicBezTo>
                  <a:cubicBezTo>
                    <a:pt x="1506" y="1992"/>
                    <a:pt x="1510" y="1984"/>
                    <a:pt x="1515" y="1975"/>
                  </a:cubicBezTo>
                  <a:cubicBezTo>
                    <a:pt x="1517" y="1970"/>
                    <a:pt x="1519" y="1966"/>
                    <a:pt x="1521" y="1962"/>
                  </a:cubicBezTo>
                  <a:cubicBezTo>
                    <a:pt x="1529" y="1945"/>
                    <a:pt x="1536" y="1929"/>
                    <a:pt x="1543" y="1912"/>
                  </a:cubicBezTo>
                  <a:cubicBezTo>
                    <a:pt x="1547" y="1903"/>
                    <a:pt x="1550" y="1895"/>
                    <a:pt x="1553" y="1886"/>
                  </a:cubicBezTo>
                  <a:lnTo>
                    <a:pt x="1567" y="1900"/>
                  </a:lnTo>
                  <a:lnTo>
                    <a:pt x="1613" y="1747"/>
                  </a:lnTo>
                  <a:lnTo>
                    <a:pt x="1505" y="1747"/>
                  </a:lnTo>
                  <a:close/>
                </a:path>
              </a:pathLst>
            </a:custGeom>
            <a:solidFill>
              <a:srgbClr val="6E6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8">
              <a:extLst>
                <a:ext uri="{FF2B5EF4-FFF2-40B4-BE49-F238E27FC236}">
                  <a16:creationId xmlns:a16="http://schemas.microsoft.com/office/drawing/2014/main" id="{8C252E41-8A8A-5611-DB0A-3FAC0E352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18125" y="1620837"/>
              <a:ext cx="33338" cy="188913"/>
            </a:xfrm>
            <a:custGeom>
              <a:avLst/>
              <a:gdLst>
                <a:gd name="T0" fmla="*/ 8 w 72"/>
                <a:gd name="T1" fmla="*/ 413 h 413"/>
                <a:gd name="T2" fmla="*/ 0 w 72"/>
                <a:gd name="T3" fmla="*/ 309 h 413"/>
                <a:gd name="T4" fmla="*/ 0 w 72"/>
                <a:gd name="T5" fmla="*/ 309 h 413"/>
                <a:gd name="T6" fmla="*/ 0 w 72"/>
                <a:gd name="T7" fmla="*/ 309 h 413"/>
                <a:gd name="T8" fmla="*/ 37 w 72"/>
                <a:gd name="T9" fmla="*/ 317 h 413"/>
                <a:gd name="T10" fmla="*/ 8 w 72"/>
                <a:gd name="T11" fmla="*/ 413 h 413"/>
                <a:gd name="T12" fmla="*/ 3 w 72"/>
                <a:gd name="T13" fmla="*/ 121 h 413"/>
                <a:gd name="T14" fmla="*/ 3 w 72"/>
                <a:gd name="T15" fmla="*/ 121 h 413"/>
                <a:gd name="T16" fmla="*/ 3 w 72"/>
                <a:gd name="T17" fmla="*/ 121 h 413"/>
                <a:gd name="T18" fmla="*/ 3 w 72"/>
                <a:gd name="T19" fmla="*/ 121 h 413"/>
                <a:gd name="T20" fmla="*/ 3 w 72"/>
                <a:gd name="T21" fmla="*/ 121 h 413"/>
                <a:gd name="T22" fmla="*/ 1 w 72"/>
                <a:gd name="T23" fmla="*/ 121 h 413"/>
                <a:gd name="T24" fmla="*/ 3 w 72"/>
                <a:gd name="T25" fmla="*/ 121 h 413"/>
                <a:gd name="T26" fmla="*/ 0 w 72"/>
                <a:gd name="T27" fmla="*/ 121 h 413"/>
                <a:gd name="T28" fmla="*/ 0 w 72"/>
                <a:gd name="T29" fmla="*/ 121 h 413"/>
                <a:gd name="T30" fmla="*/ 0 w 72"/>
                <a:gd name="T31" fmla="*/ 121 h 413"/>
                <a:gd name="T32" fmla="*/ 10 w 72"/>
                <a:gd name="T33" fmla="*/ 115 h 413"/>
                <a:gd name="T34" fmla="*/ 10 w 72"/>
                <a:gd name="T35" fmla="*/ 114 h 413"/>
                <a:gd name="T36" fmla="*/ 10 w 72"/>
                <a:gd name="T37" fmla="*/ 115 h 413"/>
                <a:gd name="T38" fmla="*/ 38 w 72"/>
                <a:gd name="T39" fmla="*/ 21 h 413"/>
                <a:gd name="T40" fmla="*/ 38 w 72"/>
                <a:gd name="T41" fmla="*/ 21 h 413"/>
                <a:gd name="T42" fmla="*/ 38 w 72"/>
                <a:gd name="T43" fmla="*/ 21 h 413"/>
                <a:gd name="T44" fmla="*/ 38 w 72"/>
                <a:gd name="T45" fmla="*/ 20 h 413"/>
                <a:gd name="T46" fmla="*/ 39 w 72"/>
                <a:gd name="T47" fmla="*/ 20 h 413"/>
                <a:gd name="T48" fmla="*/ 38 w 72"/>
                <a:gd name="T49" fmla="*/ 20 h 413"/>
                <a:gd name="T50" fmla="*/ 72 w 72"/>
                <a:gd name="T51" fmla="*/ 1 h 413"/>
                <a:gd name="T52" fmla="*/ 62 w 72"/>
                <a:gd name="T53" fmla="*/ 0 h 413"/>
                <a:gd name="T54" fmla="*/ 72 w 72"/>
                <a:gd name="T55" fmla="*/ 1 h 413"/>
                <a:gd name="T56" fmla="*/ 62 w 72"/>
                <a:gd name="T57" fmla="*/ 0 h 413"/>
                <a:gd name="T58" fmla="*/ 62 w 72"/>
                <a:gd name="T59" fmla="*/ 0 h 413"/>
                <a:gd name="T60" fmla="*/ 62 w 72"/>
                <a:gd name="T61" fmla="*/ 0 h 413"/>
                <a:gd name="T62" fmla="*/ 62 w 72"/>
                <a:gd name="T63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413">
                  <a:moveTo>
                    <a:pt x="8" y="413"/>
                  </a:moveTo>
                  <a:cubicBezTo>
                    <a:pt x="6" y="378"/>
                    <a:pt x="3" y="344"/>
                    <a:pt x="0" y="309"/>
                  </a:cubicBezTo>
                  <a:lnTo>
                    <a:pt x="0" y="309"/>
                  </a:lnTo>
                  <a:lnTo>
                    <a:pt x="0" y="309"/>
                  </a:lnTo>
                  <a:cubicBezTo>
                    <a:pt x="13" y="312"/>
                    <a:pt x="25" y="314"/>
                    <a:pt x="37" y="317"/>
                  </a:cubicBezTo>
                  <a:lnTo>
                    <a:pt x="8" y="413"/>
                  </a:lnTo>
                  <a:moveTo>
                    <a:pt x="3" y="121"/>
                  </a:moveTo>
                  <a:lnTo>
                    <a:pt x="3" y="121"/>
                  </a:lnTo>
                  <a:lnTo>
                    <a:pt x="3" y="121"/>
                  </a:lnTo>
                  <a:lnTo>
                    <a:pt x="3" y="121"/>
                  </a:lnTo>
                  <a:close/>
                  <a:moveTo>
                    <a:pt x="3" y="121"/>
                  </a:moveTo>
                  <a:cubicBezTo>
                    <a:pt x="2" y="121"/>
                    <a:pt x="1" y="121"/>
                    <a:pt x="1" y="121"/>
                  </a:cubicBezTo>
                  <a:cubicBezTo>
                    <a:pt x="1" y="121"/>
                    <a:pt x="2" y="121"/>
                    <a:pt x="3" y="121"/>
                  </a:cubicBezTo>
                  <a:close/>
                  <a:moveTo>
                    <a:pt x="0" y="121"/>
                  </a:moveTo>
                  <a:lnTo>
                    <a:pt x="0" y="121"/>
                  </a:lnTo>
                  <a:lnTo>
                    <a:pt x="0" y="121"/>
                  </a:lnTo>
                  <a:close/>
                  <a:moveTo>
                    <a:pt x="10" y="115"/>
                  </a:moveTo>
                  <a:cubicBezTo>
                    <a:pt x="10" y="115"/>
                    <a:pt x="10" y="114"/>
                    <a:pt x="10" y="114"/>
                  </a:cubicBezTo>
                  <a:cubicBezTo>
                    <a:pt x="10" y="114"/>
                    <a:pt x="10" y="115"/>
                    <a:pt x="10" y="115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0"/>
                  </a:moveTo>
                  <a:cubicBezTo>
                    <a:pt x="38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lose/>
                  <a:moveTo>
                    <a:pt x="72" y="1"/>
                  </a:moveTo>
                  <a:cubicBezTo>
                    <a:pt x="68" y="0"/>
                    <a:pt x="65" y="0"/>
                    <a:pt x="62" y="0"/>
                  </a:cubicBezTo>
                  <a:cubicBezTo>
                    <a:pt x="65" y="0"/>
                    <a:pt x="68" y="0"/>
                    <a:pt x="72" y="1"/>
                  </a:cubicBezTo>
                  <a:close/>
                  <a:moveTo>
                    <a:pt x="62" y="0"/>
                  </a:moveTo>
                  <a:cubicBezTo>
                    <a:pt x="62" y="0"/>
                    <a:pt x="62" y="0"/>
                    <a:pt x="62" y="0"/>
                  </a:cubicBezTo>
                  <a:lnTo>
                    <a:pt x="62" y="0"/>
                  </a:lnTo>
                  <a:cubicBezTo>
                    <a:pt x="62" y="0"/>
                    <a:pt x="62" y="0"/>
                    <a:pt x="62" y="0"/>
                  </a:cubicBezTo>
                  <a:close/>
                </a:path>
              </a:pathLst>
            </a:custGeom>
            <a:solidFill>
              <a:srgbClr val="292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9">
              <a:extLst>
                <a:ext uri="{FF2B5EF4-FFF2-40B4-BE49-F238E27FC236}">
                  <a16:creationId xmlns:a16="http://schemas.microsoft.com/office/drawing/2014/main" id="{05CC3D42-516B-3B62-5A66-897C8D007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27650" y="1620837"/>
              <a:ext cx="90488" cy="423863"/>
            </a:xfrm>
            <a:custGeom>
              <a:avLst/>
              <a:gdLst>
                <a:gd name="T0" fmla="*/ 50 w 199"/>
                <a:gd name="T1" fmla="*/ 928 h 928"/>
                <a:gd name="T2" fmla="*/ 29 w 199"/>
                <a:gd name="T3" fmla="*/ 413 h 928"/>
                <a:gd name="T4" fmla="*/ 29 w 199"/>
                <a:gd name="T5" fmla="*/ 413 h 928"/>
                <a:gd name="T6" fmla="*/ 58 w 199"/>
                <a:gd name="T7" fmla="*/ 317 h 928"/>
                <a:gd name="T8" fmla="*/ 21 w 199"/>
                <a:gd name="T9" fmla="*/ 309 h 928"/>
                <a:gd name="T10" fmla="*/ 21 w 199"/>
                <a:gd name="T11" fmla="*/ 309 h 928"/>
                <a:gd name="T12" fmla="*/ 0 w 199"/>
                <a:gd name="T13" fmla="*/ 118 h 928"/>
                <a:gd name="T14" fmla="*/ 21 w 199"/>
                <a:gd name="T15" fmla="*/ 121 h 928"/>
                <a:gd name="T16" fmla="*/ 21 w 199"/>
                <a:gd name="T17" fmla="*/ 121 h 928"/>
                <a:gd name="T18" fmla="*/ 21 w 199"/>
                <a:gd name="T19" fmla="*/ 121 h 928"/>
                <a:gd name="T20" fmla="*/ 22 w 199"/>
                <a:gd name="T21" fmla="*/ 121 h 928"/>
                <a:gd name="T22" fmla="*/ 24 w 199"/>
                <a:gd name="T23" fmla="*/ 121 h 928"/>
                <a:gd name="T24" fmla="*/ 24 w 199"/>
                <a:gd name="T25" fmla="*/ 121 h 928"/>
                <a:gd name="T26" fmla="*/ 24 w 199"/>
                <a:gd name="T27" fmla="*/ 121 h 928"/>
                <a:gd name="T28" fmla="*/ 24 w 199"/>
                <a:gd name="T29" fmla="*/ 121 h 928"/>
                <a:gd name="T30" fmla="*/ 24 w 199"/>
                <a:gd name="T31" fmla="*/ 121 h 928"/>
                <a:gd name="T32" fmla="*/ 31 w 199"/>
                <a:gd name="T33" fmla="*/ 115 h 928"/>
                <a:gd name="T34" fmla="*/ 31 w 199"/>
                <a:gd name="T35" fmla="*/ 114 h 928"/>
                <a:gd name="T36" fmla="*/ 31 w 199"/>
                <a:gd name="T37" fmla="*/ 114 h 928"/>
                <a:gd name="T38" fmla="*/ 59 w 199"/>
                <a:gd name="T39" fmla="*/ 22 h 928"/>
                <a:gd name="T40" fmla="*/ 59 w 199"/>
                <a:gd name="T41" fmla="*/ 21 h 928"/>
                <a:gd name="T42" fmla="*/ 59 w 199"/>
                <a:gd name="T43" fmla="*/ 21 h 928"/>
                <a:gd name="T44" fmla="*/ 59 w 199"/>
                <a:gd name="T45" fmla="*/ 20 h 928"/>
                <a:gd name="T46" fmla="*/ 60 w 199"/>
                <a:gd name="T47" fmla="*/ 20 h 928"/>
                <a:gd name="T48" fmla="*/ 83 w 199"/>
                <a:gd name="T49" fmla="*/ 0 h 928"/>
                <a:gd name="T50" fmla="*/ 83 w 199"/>
                <a:gd name="T51" fmla="*/ 0 h 928"/>
                <a:gd name="T52" fmla="*/ 83 w 199"/>
                <a:gd name="T53" fmla="*/ 0 h 928"/>
                <a:gd name="T54" fmla="*/ 93 w 199"/>
                <a:gd name="T55" fmla="*/ 1 h 928"/>
                <a:gd name="T56" fmla="*/ 94 w 199"/>
                <a:gd name="T57" fmla="*/ 1 h 928"/>
                <a:gd name="T58" fmla="*/ 156 w 199"/>
                <a:gd name="T59" fmla="*/ 14 h 928"/>
                <a:gd name="T60" fmla="*/ 198 w 199"/>
                <a:gd name="T61" fmla="*/ 27 h 928"/>
                <a:gd name="T62" fmla="*/ 199 w 199"/>
                <a:gd name="T63" fmla="*/ 28 h 928"/>
                <a:gd name="T64" fmla="*/ 199 w 199"/>
                <a:gd name="T65" fmla="*/ 109 h 928"/>
                <a:gd name="T66" fmla="*/ 190 w 199"/>
                <a:gd name="T67" fmla="*/ 159 h 928"/>
                <a:gd name="T68" fmla="*/ 190 w 199"/>
                <a:gd name="T69" fmla="*/ 159 h 928"/>
                <a:gd name="T70" fmla="*/ 190 w 199"/>
                <a:gd name="T71" fmla="*/ 159 h 928"/>
                <a:gd name="T72" fmla="*/ 199 w 199"/>
                <a:gd name="T73" fmla="*/ 163 h 928"/>
                <a:gd name="T74" fmla="*/ 199 w 199"/>
                <a:gd name="T75" fmla="*/ 435 h 928"/>
                <a:gd name="T76" fmla="*/ 50 w 199"/>
                <a:gd name="T77" fmla="*/ 92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9" h="928">
                  <a:moveTo>
                    <a:pt x="50" y="928"/>
                  </a:moveTo>
                  <a:cubicBezTo>
                    <a:pt x="48" y="778"/>
                    <a:pt x="42" y="591"/>
                    <a:pt x="29" y="413"/>
                  </a:cubicBezTo>
                  <a:lnTo>
                    <a:pt x="29" y="413"/>
                  </a:lnTo>
                  <a:lnTo>
                    <a:pt x="58" y="317"/>
                  </a:lnTo>
                  <a:cubicBezTo>
                    <a:pt x="46" y="314"/>
                    <a:pt x="34" y="312"/>
                    <a:pt x="21" y="309"/>
                  </a:cubicBezTo>
                  <a:lnTo>
                    <a:pt x="21" y="309"/>
                  </a:lnTo>
                  <a:cubicBezTo>
                    <a:pt x="15" y="241"/>
                    <a:pt x="8" y="176"/>
                    <a:pt x="0" y="118"/>
                  </a:cubicBezTo>
                  <a:cubicBezTo>
                    <a:pt x="7" y="119"/>
                    <a:pt x="14" y="120"/>
                    <a:pt x="21" y="121"/>
                  </a:cubicBezTo>
                  <a:lnTo>
                    <a:pt x="21" y="121"/>
                  </a:lnTo>
                  <a:lnTo>
                    <a:pt x="21" y="121"/>
                  </a:lnTo>
                  <a:cubicBezTo>
                    <a:pt x="21" y="121"/>
                    <a:pt x="21" y="121"/>
                    <a:pt x="22" y="121"/>
                  </a:cubicBezTo>
                  <a:cubicBezTo>
                    <a:pt x="22" y="121"/>
                    <a:pt x="23" y="121"/>
                    <a:pt x="24" y="121"/>
                  </a:cubicBez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cubicBezTo>
                    <a:pt x="28" y="121"/>
                    <a:pt x="30" y="119"/>
                    <a:pt x="31" y="115"/>
                  </a:cubicBezTo>
                  <a:cubicBezTo>
                    <a:pt x="31" y="115"/>
                    <a:pt x="31" y="114"/>
                    <a:pt x="31" y="114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40" y="83"/>
                    <a:pt x="50" y="53"/>
                    <a:pt x="59" y="22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0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64" y="6"/>
                    <a:pt x="71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0"/>
                    <a:pt x="89" y="0"/>
                    <a:pt x="93" y="1"/>
                  </a:cubicBezTo>
                  <a:cubicBezTo>
                    <a:pt x="93" y="1"/>
                    <a:pt x="93" y="1"/>
                    <a:pt x="94" y="1"/>
                  </a:cubicBezTo>
                  <a:cubicBezTo>
                    <a:pt x="114" y="6"/>
                    <a:pt x="135" y="10"/>
                    <a:pt x="156" y="14"/>
                  </a:cubicBezTo>
                  <a:lnTo>
                    <a:pt x="198" y="27"/>
                  </a:lnTo>
                  <a:lnTo>
                    <a:pt x="199" y="28"/>
                  </a:lnTo>
                  <a:lnTo>
                    <a:pt x="199" y="109"/>
                  </a:lnTo>
                  <a:cubicBezTo>
                    <a:pt x="196" y="126"/>
                    <a:pt x="193" y="143"/>
                    <a:pt x="190" y="159"/>
                  </a:cubicBezTo>
                  <a:lnTo>
                    <a:pt x="190" y="159"/>
                  </a:lnTo>
                  <a:lnTo>
                    <a:pt x="190" y="159"/>
                  </a:lnTo>
                  <a:cubicBezTo>
                    <a:pt x="193" y="161"/>
                    <a:pt x="196" y="161"/>
                    <a:pt x="199" y="163"/>
                  </a:cubicBezTo>
                  <a:lnTo>
                    <a:pt x="199" y="435"/>
                  </a:lnTo>
                  <a:lnTo>
                    <a:pt x="50" y="928"/>
                  </a:lnTo>
                </a:path>
              </a:pathLst>
            </a:custGeom>
            <a:solidFill>
              <a:srgbClr val="534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6">
              <a:extLst>
                <a:ext uri="{FF2B5EF4-FFF2-40B4-BE49-F238E27FC236}">
                  <a16:creationId xmlns:a16="http://schemas.microsoft.com/office/drawing/2014/main" id="{E0F74393-712A-10C5-A109-C5F120715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51488" y="2228850"/>
              <a:ext cx="615950" cy="182563"/>
            </a:xfrm>
            <a:custGeom>
              <a:avLst/>
              <a:gdLst>
                <a:gd name="T0" fmla="*/ 1162 w 1362"/>
                <a:gd name="T1" fmla="*/ 200 h 400"/>
                <a:gd name="T2" fmla="*/ 200 w 1362"/>
                <a:gd name="T3" fmla="*/ 200 h 400"/>
                <a:gd name="T4" fmla="*/ 0 w 1362"/>
                <a:gd name="T5" fmla="*/ 0 h 400"/>
                <a:gd name="T6" fmla="*/ 0 w 1362"/>
                <a:gd name="T7" fmla="*/ 200 h 400"/>
                <a:gd name="T8" fmla="*/ 200 w 1362"/>
                <a:gd name="T9" fmla="*/ 400 h 400"/>
                <a:gd name="T10" fmla="*/ 1162 w 1362"/>
                <a:gd name="T11" fmla="*/ 400 h 400"/>
                <a:gd name="T12" fmla="*/ 1362 w 1362"/>
                <a:gd name="T13" fmla="*/ 200 h 400"/>
                <a:gd name="T14" fmla="*/ 1362 w 1362"/>
                <a:gd name="T15" fmla="*/ 0 h 400"/>
                <a:gd name="T16" fmla="*/ 1162 w 1362"/>
                <a:gd name="T17" fmla="*/ 2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2" h="400">
                  <a:moveTo>
                    <a:pt x="1162" y="200"/>
                  </a:moveTo>
                  <a:lnTo>
                    <a:pt x="200" y="200"/>
                  </a:lnTo>
                  <a:cubicBezTo>
                    <a:pt x="90" y="200"/>
                    <a:pt x="0" y="110"/>
                    <a:pt x="0" y="0"/>
                  </a:cubicBezTo>
                  <a:lnTo>
                    <a:pt x="0" y="200"/>
                  </a:lnTo>
                  <a:cubicBezTo>
                    <a:pt x="0" y="310"/>
                    <a:pt x="90" y="400"/>
                    <a:pt x="200" y="400"/>
                  </a:cubicBezTo>
                  <a:lnTo>
                    <a:pt x="1162" y="400"/>
                  </a:lnTo>
                  <a:cubicBezTo>
                    <a:pt x="1272" y="400"/>
                    <a:pt x="1362" y="310"/>
                    <a:pt x="1362" y="200"/>
                  </a:cubicBezTo>
                  <a:lnTo>
                    <a:pt x="1362" y="0"/>
                  </a:lnTo>
                  <a:cubicBezTo>
                    <a:pt x="1362" y="110"/>
                    <a:pt x="1272" y="200"/>
                    <a:pt x="1162" y="200"/>
                  </a:cubicBezTo>
                </a:path>
              </a:pathLst>
            </a:custGeom>
            <a:solidFill>
              <a:srgbClr val="2926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7">
              <a:extLst>
                <a:ext uri="{FF2B5EF4-FFF2-40B4-BE49-F238E27FC236}">
                  <a16:creationId xmlns:a16="http://schemas.microsoft.com/office/drawing/2014/main" id="{20A189CB-B2B4-3C7A-CBCC-D294CBD9C2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68850" y="1928812"/>
              <a:ext cx="415925" cy="427038"/>
            </a:xfrm>
            <a:custGeom>
              <a:avLst/>
              <a:gdLst>
                <a:gd name="T0" fmla="*/ 165 w 922"/>
                <a:gd name="T1" fmla="*/ 404 h 933"/>
                <a:gd name="T2" fmla="*/ 524 w 922"/>
                <a:gd name="T3" fmla="*/ 763 h 933"/>
                <a:gd name="T4" fmla="*/ 458 w 922"/>
                <a:gd name="T5" fmla="*/ 164 h 933"/>
                <a:gd name="T6" fmla="*/ 165 w 922"/>
                <a:gd name="T7" fmla="*/ 404 h 933"/>
                <a:gd name="T8" fmla="*/ 524 w 922"/>
                <a:gd name="T9" fmla="*/ 763 h 933"/>
                <a:gd name="T10" fmla="*/ 458 w 922"/>
                <a:gd name="T11" fmla="*/ 164 h 933"/>
                <a:gd name="T12" fmla="*/ 920 w 922"/>
                <a:gd name="T13" fmla="*/ 382 h 933"/>
                <a:gd name="T14" fmla="*/ 842 w 922"/>
                <a:gd name="T15" fmla="*/ 335 h 933"/>
                <a:gd name="T16" fmla="*/ 799 w 922"/>
                <a:gd name="T17" fmla="*/ 254 h 933"/>
                <a:gd name="T18" fmla="*/ 844 w 922"/>
                <a:gd name="T19" fmla="*/ 201 h 933"/>
                <a:gd name="T20" fmla="*/ 754 w 922"/>
                <a:gd name="T21" fmla="*/ 177 h 933"/>
                <a:gd name="T22" fmla="*/ 675 w 922"/>
                <a:gd name="T23" fmla="*/ 125 h 933"/>
                <a:gd name="T24" fmla="*/ 661 w 922"/>
                <a:gd name="T25" fmla="*/ 45 h 933"/>
                <a:gd name="T26" fmla="*/ 596 w 922"/>
                <a:gd name="T27" fmla="*/ 86 h 933"/>
                <a:gd name="T28" fmla="*/ 505 w 922"/>
                <a:gd name="T29" fmla="*/ 66 h 933"/>
                <a:gd name="T30" fmla="*/ 482 w 922"/>
                <a:gd name="T31" fmla="*/ 0 h 933"/>
                <a:gd name="T32" fmla="*/ 418 w 922"/>
                <a:gd name="T33" fmla="*/ 17 h 933"/>
                <a:gd name="T34" fmla="*/ 362 w 922"/>
                <a:gd name="T35" fmla="*/ 81 h 933"/>
                <a:gd name="T36" fmla="*/ 306 w 922"/>
                <a:gd name="T37" fmla="*/ 43 h 933"/>
                <a:gd name="T38" fmla="*/ 226 w 922"/>
                <a:gd name="T39" fmla="*/ 80 h 933"/>
                <a:gd name="T40" fmla="*/ 179 w 922"/>
                <a:gd name="T41" fmla="*/ 185 h 933"/>
                <a:gd name="T42" fmla="*/ 78 w 922"/>
                <a:gd name="T43" fmla="*/ 201 h 933"/>
                <a:gd name="T44" fmla="*/ 124 w 922"/>
                <a:gd name="T45" fmla="*/ 254 h 933"/>
                <a:gd name="T46" fmla="*/ 84 w 922"/>
                <a:gd name="T47" fmla="*/ 335 h 933"/>
                <a:gd name="T48" fmla="*/ 14 w 922"/>
                <a:gd name="T49" fmla="*/ 335 h 933"/>
                <a:gd name="T50" fmla="*/ 0 w 922"/>
                <a:gd name="T51" fmla="*/ 398 h 933"/>
                <a:gd name="T52" fmla="*/ 64 w 922"/>
                <a:gd name="T53" fmla="*/ 421 h 933"/>
                <a:gd name="T54" fmla="*/ 15 w 922"/>
                <a:gd name="T55" fmla="*/ 524 h 933"/>
                <a:gd name="T56" fmla="*/ 0 w 922"/>
                <a:gd name="T57" fmla="*/ 542 h 933"/>
                <a:gd name="T58" fmla="*/ 33 w 922"/>
                <a:gd name="T59" fmla="*/ 609 h 933"/>
                <a:gd name="T60" fmla="*/ 91 w 922"/>
                <a:gd name="T61" fmla="*/ 613 h 933"/>
                <a:gd name="T62" fmla="*/ 79 w 922"/>
                <a:gd name="T63" fmla="*/ 733 h 933"/>
                <a:gd name="T64" fmla="*/ 137 w 922"/>
                <a:gd name="T65" fmla="*/ 781 h 933"/>
                <a:gd name="T66" fmla="*/ 213 w 922"/>
                <a:gd name="T67" fmla="*/ 778 h 933"/>
                <a:gd name="T68" fmla="*/ 226 w 922"/>
                <a:gd name="T69" fmla="*/ 854 h 933"/>
                <a:gd name="T70" fmla="*/ 305 w 922"/>
                <a:gd name="T71" fmla="*/ 892 h 933"/>
                <a:gd name="T72" fmla="*/ 418 w 922"/>
                <a:gd name="T73" fmla="*/ 863 h 933"/>
                <a:gd name="T74" fmla="*/ 432 w 922"/>
                <a:gd name="T75" fmla="*/ 932 h 933"/>
                <a:gd name="T76" fmla="*/ 505 w 922"/>
                <a:gd name="T77" fmla="*/ 867 h 933"/>
                <a:gd name="T78" fmla="*/ 595 w 922"/>
                <a:gd name="T79" fmla="*/ 846 h 933"/>
                <a:gd name="T80" fmla="*/ 658 w 922"/>
                <a:gd name="T81" fmla="*/ 890 h 933"/>
                <a:gd name="T82" fmla="*/ 696 w 922"/>
                <a:gd name="T83" fmla="*/ 853 h 933"/>
                <a:gd name="T84" fmla="*/ 677 w 922"/>
                <a:gd name="T85" fmla="*/ 802 h 933"/>
                <a:gd name="T86" fmla="*/ 748 w 922"/>
                <a:gd name="T87" fmla="*/ 752 h 933"/>
                <a:gd name="T88" fmla="*/ 844 w 922"/>
                <a:gd name="T89" fmla="*/ 733 h 933"/>
                <a:gd name="T90" fmla="*/ 798 w 922"/>
                <a:gd name="T91" fmla="*/ 679 h 933"/>
                <a:gd name="T92" fmla="*/ 891 w 922"/>
                <a:gd name="T93" fmla="*/ 610 h 933"/>
                <a:gd name="T94" fmla="*/ 922 w 922"/>
                <a:gd name="T95" fmla="*/ 543 h 933"/>
                <a:gd name="T96" fmla="*/ 876 w 922"/>
                <a:gd name="T97" fmla="*/ 516 h 933"/>
                <a:gd name="T98" fmla="*/ 858 w 922"/>
                <a:gd name="T99" fmla="*/ 422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2" h="933">
                  <a:moveTo>
                    <a:pt x="458" y="164"/>
                  </a:moveTo>
                  <a:cubicBezTo>
                    <a:pt x="454" y="164"/>
                    <a:pt x="450" y="165"/>
                    <a:pt x="446" y="165"/>
                  </a:cubicBezTo>
                  <a:cubicBezTo>
                    <a:pt x="308" y="171"/>
                    <a:pt x="194" y="271"/>
                    <a:pt x="165" y="404"/>
                  </a:cubicBezTo>
                  <a:cubicBezTo>
                    <a:pt x="161" y="424"/>
                    <a:pt x="159" y="445"/>
                    <a:pt x="159" y="467"/>
                  </a:cubicBezTo>
                  <a:cubicBezTo>
                    <a:pt x="159" y="637"/>
                    <a:pt x="299" y="772"/>
                    <a:pt x="467" y="769"/>
                  </a:cubicBezTo>
                  <a:cubicBezTo>
                    <a:pt x="486" y="769"/>
                    <a:pt x="506" y="767"/>
                    <a:pt x="524" y="763"/>
                  </a:cubicBezTo>
                  <a:cubicBezTo>
                    <a:pt x="654" y="735"/>
                    <a:pt x="756" y="623"/>
                    <a:pt x="763" y="482"/>
                  </a:cubicBezTo>
                  <a:cubicBezTo>
                    <a:pt x="764" y="477"/>
                    <a:pt x="764" y="471"/>
                    <a:pt x="764" y="466"/>
                  </a:cubicBezTo>
                  <a:cubicBezTo>
                    <a:pt x="764" y="298"/>
                    <a:pt x="627" y="163"/>
                    <a:pt x="458" y="164"/>
                  </a:cubicBezTo>
                  <a:close/>
                  <a:moveTo>
                    <a:pt x="458" y="164"/>
                  </a:moveTo>
                  <a:cubicBezTo>
                    <a:pt x="454" y="164"/>
                    <a:pt x="450" y="165"/>
                    <a:pt x="446" y="165"/>
                  </a:cubicBezTo>
                  <a:cubicBezTo>
                    <a:pt x="308" y="171"/>
                    <a:pt x="194" y="271"/>
                    <a:pt x="165" y="404"/>
                  </a:cubicBezTo>
                  <a:cubicBezTo>
                    <a:pt x="161" y="424"/>
                    <a:pt x="159" y="445"/>
                    <a:pt x="159" y="467"/>
                  </a:cubicBezTo>
                  <a:cubicBezTo>
                    <a:pt x="159" y="637"/>
                    <a:pt x="299" y="772"/>
                    <a:pt x="467" y="769"/>
                  </a:cubicBezTo>
                  <a:cubicBezTo>
                    <a:pt x="486" y="769"/>
                    <a:pt x="506" y="767"/>
                    <a:pt x="524" y="763"/>
                  </a:cubicBezTo>
                  <a:cubicBezTo>
                    <a:pt x="654" y="735"/>
                    <a:pt x="756" y="623"/>
                    <a:pt x="763" y="482"/>
                  </a:cubicBezTo>
                  <a:cubicBezTo>
                    <a:pt x="764" y="477"/>
                    <a:pt x="764" y="471"/>
                    <a:pt x="764" y="466"/>
                  </a:cubicBezTo>
                  <a:cubicBezTo>
                    <a:pt x="764" y="298"/>
                    <a:pt x="627" y="163"/>
                    <a:pt x="458" y="164"/>
                  </a:cubicBezTo>
                  <a:close/>
                  <a:moveTo>
                    <a:pt x="922" y="399"/>
                  </a:moveTo>
                  <a:lnTo>
                    <a:pt x="922" y="390"/>
                  </a:lnTo>
                  <a:lnTo>
                    <a:pt x="920" y="382"/>
                  </a:lnTo>
                  <a:cubicBezTo>
                    <a:pt x="916" y="366"/>
                    <a:pt x="912" y="350"/>
                    <a:pt x="908" y="335"/>
                  </a:cubicBezTo>
                  <a:cubicBezTo>
                    <a:pt x="906" y="326"/>
                    <a:pt x="900" y="322"/>
                    <a:pt x="891" y="324"/>
                  </a:cubicBezTo>
                  <a:cubicBezTo>
                    <a:pt x="875" y="328"/>
                    <a:pt x="858" y="331"/>
                    <a:pt x="842" y="335"/>
                  </a:cubicBezTo>
                  <a:cubicBezTo>
                    <a:pt x="839" y="336"/>
                    <a:pt x="837" y="335"/>
                    <a:pt x="836" y="331"/>
                  </a:cubicBezTo>
                  <a:cubicBezTo>
                    <a:pt x="829" y="315"/>
                    <a:pt x="822" y="298"/>
                    <a:pt x="814" y="282"/>
                  </a:cubicBezTo>
                  <a:cubicBezTo>
                    <a:pt x="809" y="272"/>
                    <a:pt x="804" y="263"/>
                    <a:pt x="799" y="254"/>
                  </a:cubicBezTo>
                  <a:lnTo>
                    <a:pt x="802" y="251"/>
                  </a:lnTo>
                  <a:cubicBezTo>
                    <a:pt x="815" y="241"/>
                    <a:pt x="828" y="230"/>
                    <a:pt x="841" y="220"/>
                  </a:cubicBezTo>
                  <a:cubicBezTo>
                    <a:pt x="847" y="214"/>
                    <a:pt x="849" y="207"/>
                    <a:pt x="844" y="201"/>
                  </a:cubicBezTo>
                  <a:cubicBezTo>
                    <a:pt x="832" y="185"/>
                    <a:pt x="819" y="169"/>
                    <a:pt x="806" y="153"/>
                  </a:cubicBezTo>
                  <a:cubicBezTo>
                    <a:pt x="801" y="147"/>
                    <a:pt x="793" y="147"/>
                    <a:pt x="786" y="152"/>
                  </a:cubicBezTo>
                  <a:cubicBezTo>
                    <a:pt x="775" y="160"/>
                    <a:pt x="765" y="169"/>
                    <a:pt x="754" y="177"/>
                  </a:cubicBezTo>
                  <a:cubicBezTo>
                    <a:pt x="750" y="180"/>
                    <a:pt x="747" y="183"/>
                    <a:pt x="743" y="185"/>
                  </a:cubicBezTo>
                  <a:cubicBezTo>
                    <a:pt x="722" y="164"/>
                    <a:pt x="698" y="145"/>
                    <a:pt x="673" y="129"/>
                  </a:cubicBezTo>
                  <a:cubicBezTo>
                    <a:pt x="674" y="128"/>
                    <a:pt x="674" y="126"/>
                    <a:pt x="675" y="125"/>
                  </a:cubicBezTo>
                  <a:cubicBezTo>
                    <a:pt x="682" y="110"/>
                    <a:pt x="689" y="95"/>
                    <a:pt x="696" y="81"/>
                  </a:cubicBezTo>
                  <a:cubicBezTo>
                    <a:pt x="700" y="71"/>
                    <a:pt x="698" y="65"/>
                    <a:pt x="689" y="60"/>
                  </a:cubicBezTo>
                  <a:cubicBezTo>
                    <a:pt x="680" y="55"/>
                    <a:pt x="670" y="50"/>
                    <a:pt x="661" y="45"/>
                  </a:cubicBezTo>
                  <a:cubicBezTo>
                    <a:pt x="653" y="42"/>
                    <a:pt x="645" y="38"/>
                    <a:pt x="637" y="35"/>
                  </a:cubicBezTo>
                  <a:cubicBezTo>
                    <a:pt x="628" y="31"/>
                    <a:pt x="621" y="34"/>
                    <a:pt x="617" y="43"/>
                  </a:cubicBezTo>
                  <a:cubicBezTo>
                    <a:pt x="610" y="57"/>
                    <a:pt x="603" y="71"/>
                    <a:pt x="596" y="86"/>
                  </a:cubicBezTo>
                  <a:cubicBezTo>
                    <a:pt x="594" y="90"/>
                    <a:pt x="592" y="91"/>
                    <a:pt x="588" y="89"/>
                  </a:cubicBezTo>
                  <a:cubicBezTo>
                    <a:pt x="562" y="80"/>
                    <a:pt x="536" y="75"/>
                    <a:pt x="509" y="72"/>
                  </a:cubicBezTo>
                  <a:cubicBezTo>
                    <a:pt x="506" y="71"/>
                    <a:pt x="505" y="70"/>
                    <a:pt x="505" y="66"/>
                  </a:cubicBezTo>
                  <a:cubicBezTo>
                    <a:pt x="505" y="50"/>
                    <a:pt x="505" y="33"/>
                    <a:pt x="505" y="17"/>
                  </a:cubicBezTo>
                  <a:cubicBezTo>
                    <a:pt x="505" y="8"/>
                    <a:pt x="500" y="2"/>
                    <a:pt x="491" y="1"/>
                  </a:cubicBezTo>
                  <a:cubicBezTo>
                    <a:pt x="488" y="1"/>
                    <a:pt x="485" y="1"/>
                    <a:pt x="482" y="0"/>
                  </a:cubicBezTo>
                  <a:lnTo>
                    <a:pt x="440" y="0"/>
                  </a:lnTo>
                  <a:cubicBezTo>
                    <a:pt x="438" y="1"/>
                    <a:pt x="435" y="1"/>
                    <a:pt x="433" y="1"/>
                  </a:cubicBezTo>
                  <a:cubicBezTo>
                    <a:pt x="423" y="2"/>
                    <a:pt x="418" y="7"/>
                    <a:pt x="418" y="17"/>
                  </a:cubicBezTo>
                  <a:cubicBezTo>
                    <a:pt x="418" y="34"/>
                    <a:pt x="417" y="50"/>
                    <a:pt x="417" y="67"/>
                  </a:cubicBezTo>
                  <a:cubicBezTo>
                    <a:pt x="417" y="70"/>
                    <a:pt x="417" y="71"/>
                    <a:pt x="413" y="71"/>
                  </a:cubicBezTo>
                  <a:cubicBezTo>
                    <a:pt x="396" y="73"/>
                    <a:pt x="379" y="77"/>
                    <a:pt x="362" y="81"/>
                  </a:cubicBezTo>
                  <a:cubicBezTo>
                    <a:pt x="353" y="83"/>
                    <a:pt x="343" y="86"/>
                    <a:pt x="334" y="89"/>
                  </a:cubicBezTo>
                  <a:cubicBezTo>
                    <a:pt x="330" y="91"/>
                    <a:pt x="328" y="90"/>
                    <a:pt x="327" y="87"/>
                  </a:cubicBezTo>
                  <a:cubicBezTo>
                    <a:pt x="320" y="72"/>
                    <a:pt x="312" y="58"/>
                    <a:pt x="306" y="43"/>
                  </a:cubicBezTo>
                  <a:cubicBezTo>
                    <a:pt x="301" y="34"/>
                    <a:pt x="293" y="31"/>
                    <a:pt x="286" y="35"/>
                  </a:cubicBezTo>
                  <a:cubicBezTo>
                    <a:pt x="268" y="43"/>
                    <a:pt x="250" y="52"/>
                    <a:pt x="232" y="61"/>
                  </a:cubicBezTo>
                  <a:cubicBezTo>
                    <a:pt x="224" y="65"/>
                    <a:pt x="223" y="72"/>
                    <a:pt x="226" y="80"/>
                  </a:cubicBezTo>
                  <a:cubicBezTo>
                    <a:pt x="232" y="93"/>
                    <a:pt x="239" y="106"/>
                    <a:pt x="245" y="118"/>
                  </a:cubicBezTo>
                  <a:cubicBezTo>
                    <a:pt x="246" y="122"/>
                    <a:pt x="248" y="125"/>
                    <a:pt x="250" y="129"/>
                  </a:cubicBezTo>
                  <a:cubicBezTo>
                    <a:pt x="224" y="145"/>
                    <a:pt x="201" y="164"/>
                    <a:pt x="179" y="185"/>
                  </a:cubicBezTo>
                  <a:cubicBezTo>
                    <a:pt x="165" y="174"/>
                    <a:pt x="151" y="163"/>
                    <a:pt x="136" y="152"/>
                  </a:cubicBezTo>
                  <a:cubicBezTo>
                    <a:pt x="130" y="147"/>
                    <a:pt x="122" y="147"/>
                    <a:pt x="116" y="153"/>
                  </a:cubicBezTo>
                  <a:cubicBezTo>
                    <a:pt x="103" y="169"/>
                    <a:pt x="91" y="185"/>
                    <a:pt x="78" y="201"/>
                  </a:cubicBezTo>
                  <a:cubicBezTo>
                    <a:pt x="74" y="207"/>
                    <a:pt x="75" y="215"/>
                    <a:pt x="82" y="220"/>
                  </a:cubicBezTo>
                  <a:cubicBezTo>
                    <a:pt x="94" y="230"/>
                    <a:pt x="107" y="240"/>
                    <a:pt x="120" y="251"/>
                  </a:cubicBezTo>
                  <a:lnTo>
                    <a:pt x="124" y="254"/>
                  </a:lnTo>
                  <a:cubicBezTo>
                    <a:pt x="116" y="268"/>
                    <a:pt x="109" y="281"/>
                    <a:pt x="102" y="294"/>
                  </a:cubicBezTo>
                  <a:cubicBezTo>
                    <a:pt x="97" y="305"/>
                    <a:pt x="93" y="316"/>
                    <a:pt x="88" y="326"/>
                  </a:cubicBezTo>
                  <a:cubicBezTo>
                    <a:pt x="87" y="329"/>
                    <a:pt x="86" y="332"/>
                    <a:pt x="84" y="335"/>
                  </a:cubicBezTo>
                  <a:lnTo>
                    <a:pt x="80" y="335"/>
                  </a:lnTo>
                  <a:cubicBezTo>
                    <a:pt x="64" y="331"/>
                    <a:pt x="48" y="328"/>
                    <a:pt x="32" y="324"/>
                  </a:cubicBezTo>
                  <a:cubicBezTo>
                    <a:pt x="23" y="322"/>
                    <a:pt x="17" y="326"/>
                    <a:pt x="14" y="335"/>
                  </a:cubicBezTo>
                  <a:cubicBezTo>
                    <a:pt x="12" y="342"/>
                    <a:pt x="10" y="348"/>
                    <a:pt x="8" y="355"/>
                  </a:cubicBezTo>
                  <a:cubicBezTo>
                    <a:pt x="6" y="367"/>
                    <a:pt x="3" y="380"/>
                    <a:pt x="0" y="392"/>
                  </a:cubicBezTo>
                  <a:lnTo>
                    <a:pt x="0" y="398"/>
                  </a:lnTo>
                  <a:cubicBezTo>
                    <a:pt x="3" y="405"/>
                    <a:pt x="8" y="409"/>
                    <a:pt x="15" y="410"/>
                  </a:cubicBezTo>
                  <a:cubicBezTo>
                    <a:pt x="24" y="412"/>
                    <a:pt x="33" y="414"/>
                    <a:pt x="43" y="416"/>
                  </a:cubicBezTo>
                  <a:cubicBezTo>
                    <a:pt x="50" y="418"/>
                    <a:pt x="58" y="420"/>
                    <a:pt x="64" y="421"/>
                  </a:cubicBezTo>
                  <a:lnTo>
                    <a:pt x="64" y="512"/>
                  </a:lnTo>
                  <a:lnTo>
                    <a:pt x="60" y="513"/>
                  </a:lnTo>
                  <a:cubicBezTo>
                    <a:pt x="45" y="517"/>
                    <a:pt x="30" y="521"/>
                    <a:pt x="15" y="524"/>
                  </a:cubicBezTo>
                  <a:cubicBezTo>
                    <a:pt x="10" y="525"/>
                    <a:pt x="6" y="527"/>
                    <a:pt x="3" y="530"/>
                  </a:cubicBezTo>
                  <a:cubicBezTo>
                    <a:pt x="2" y="531"/>
                    <a:pt x="1" y="533"/>
                    <a:pt x="0" y="535"/>
                  </a:cubicBezTo>
                  <a:lnTo>
                    <a:pt x="0" y="542"/>
                  </a:lnTo>
                  <a:lnTo>
                    <a:pt x="1" y="545"/>
                  </a:lnTo>
                  <a:cubicBezTo>
                    <a:pt x="6" y="563"/>
                    <a:pt x="9" y="580"/>
                    <a:pt x="14" y="598"/>
                  </a:cubicBezTo>
                  <a:cubicBezTo>
                    <a:pt x="16" y="608"/>
                    <a:pt x="22" y="611"/>
                    <a:pt x="33" y="609"/>
                  </a:cubicBezTo>
                  <a:cubicBezTo>
                    <a:pt x="39" y="608"/>
                    <a:pt x="45" y="607"/>
                    <a:pt x="51" y="605"/>
                  </a:cubicBezTo>
                  <a:cubicBezTo>
                    <a:pt x="62" y="603"/>
                    <a:pt x="74" y="600"/>
                    <a:pt x="85" y="598"/>
                  </a:cubicBezTo>
                  <a:cubicBezTo>
                    <a:pt x="87" y="603"/>
                    <a:pt x="89" y="608"/>
                    <a:pt x="91" y="613"/>
                  </a:cubicBezTo>
                  <a:cubicBezTo>
                    <a:pt x="100" y="636"/>
                    <a:pt x="111" y="658"/>
                    <a:pt x="124" y="679"/>
                  </a:cubicBezTo>
                  <a:cubicBezTo>
                    <a:pt x="110" y="691"/>
                    <a:pt x="96" y="702"/>
                    <a:pt x="82" y="714"/>
                  </a:cubicBezTo>
                  <a:cubicBezTo>
                    <a:pt x="75" y="719"/>
                    <a:pt x="74" y="726"/>
                    <a:pt x="79" y="733"/>
                  </a:cubicBezTo>
                  <a:cubicBezTo>
                    <a:pt x="81" y="736"/>
                    <a:pt x="83" y="739"/>
                    <a:pt x="85" y="742"/>
                  </a:cubicBezTo>
                  <a:cubicBezTo>
                    <a:pt x="95" y="754"/>
                    <a:pt x="105" y="767"/>
                    <a:pt x="115" y="779"/>
                  </a:cubicBezTo>
                  <a:cubicBezTo>
                    <a:pt x="122" y="787"/>
                    <a:pt x="129" y="787"/>
                    <a:pt x="137" y="781"/>
                  </a:cubicBezTo>
                  <a:cubicBezTo>
                    <a:pt x="142" y="777"/>
                    <a:pt x="147" y="774"/>
                    <a:pt x="152" y="770"/>
                  </a:cubicBezTo>
                  <a:cubicBezTo>
                    <a:pt x="161" y="763"/>
                    <a:pt x="170" y="755"/>
                    <a:pt x="179" y="749"/>
                  </a:cubicBezTo>
                  <a:cubicBezTo>
                    <a:pt x="190" y="759"/>
                    <a:pt x="201" y="769"/>
                    <a:pt x="213" y="778"/>
                  </a:cubicBezTo>
                  <a:cubicBezTo>
                    <a:pt x="225" y="787"/>
                    <a:pt x="237" y="796"/>
                    <a:pt x="249" y="805"/>
                  </a:cubicBezTo>
                  <a:lnTo>
                    <a:pt x="248" y="808"/>
                  </a:lnTo>
                  <a:lnTo>
                    <a:pt x="226" y="854"/>
                  </a:lnTo>
                  <a:cubicBezTo>
                    <a:pt x="223" y="861"/>
                    <a:pt x="224" y="869"/>
                    <a:pt x="232" y="873"/>
                  </a:cubicBezTo>
                  <a:cubicBezTo>
                    <a:pt x="250" y="882"/>
                    <a:pt x="268" y="891"/>
                    <a:pt x="286" y="899"/>
                  </a:cubicBezTo>
                  <a:cubicBezTo>
                    <a:pt x="295" y="903"/>
                    <a:pt x="301" y="899"/>
                    <a:pt x="305" y="892"/>
                  </a:cubicBezTo>
                  <a:cubicBezTo>
                    <a:pt x="309" y="883"/>
                    <a:pt x="314" y="874"/>
                    <a:pt x="318" y="865"/>
                  </a:cubicBezTo>
                  <a:cubicBezTo>
                    <a:pt x="322" y="858"/>
                    <a:pt x="325" y="850"/>
                    <a:pt x="329" y="843"/>
                  </a:cubicBezTo>
                  <a:cubicBezTo>
                    <a:pt x="358" y="853"/>
                    <a:pt x="387" y="859"/>
                    <a:pt x="418" y="863"/>
                  </a:cubicBezTo>
                  <a:lnTo>
                    <a:pt x="418" y="916"/>
                  </a:lnTo>
                  <a:cubicBezTo>
                    <a:pt x="418" y="923"/>
                    <a:pt x="419" y="927"/>
                    <a:pt x="423" y="929"/>
                  </a:cubicBezTo>
                  <a:cubicBezTo>
                    <a:pt x="425" y="931"/>
                    <a:pt x="428" y="932"/>
                    <a:pt x="432" y="932"/>
                  </a:cubicBezTo>
                  <a:cubicBezTo>
                    <a:pt x="452" y="933"/>
                    <a:pt x="471" y="932"/>
                    <a:pt x="491" y="932"/>
                  </a:cubicBezTo>
                  <a:cubicBezTo>
                    <a:pt x="500" y="932"/>
                    <a:pt x="505" y="926"/>
                    <a:pt x="505" y="917"/>
                  </a:cubicBezTo>
                  <a:cubicBezTo>
                    <a:pt x="505" y="900"/>
                    <a:pt x="505" y="884"/>
                    <a:pt x="505" y="867"/>
                  </a:cubicBezTo>
                  <a:cubicBezTo>
                    <a:pt x="505" y="866"/>
                    <a:pt x="505" y="864"/>
                    <a:pt x="505" y="863"/>
                  </a:cubicBezTo>
                  <a:cubicBezTo>
                    <a:pt x="536" y="859"/>
                    <a:pt x="565" y="853"/>
                    <a:pt x="593" y="843"/>
                  </a:cubicBezTo>
                  <a:lnTo>
                    <a:pt x="595" y="846"/>
                  </a:lnTo>
                  <a:cubicBezTo>
                    <a:pt x="602" y="861"/>
                    <a:pt x="610" y="876"/>
                    <a:pt x="617" y="890"/>
                  </a:cubicBezTo>
                  <a:cubicBezTo>
                    <a:pt x="622" y="900"/>
                    <a:pt x="628" y="903"/>
                    <a:pt x="638" y="898"/>
                  </a:cubicBezTo>
                  <a:cubicBezTo>
                    <a:pt x="645" y="896"/>
                    <a:pt x="651" y="893"/>
                    <a:pt x="658" y="890"/>
                  </a:cubicBezTo>
                  <a:cubicBezTo>
                    <a:pt x="660" y="889"/>
                    <a:pt x="662" y="888"/>
                    <a:pt x="663" y="887"/>
                  </a:cubicBezTo>
                  <a:cubicBezTo>
                    <a:pt x="672" y="883"/>
                    <a:pt x="681" y="878"/>
                    <a:pt x="689" y="873"/>
                  </a:cubicBezTo>
                  <a:cubicBezTo>
                    <a:pt x="698" y="869"/>
                    <a:pt x="700" y="862"/>
                    <a:pt x="696" y="853"/>
                  </a:cubicBezTo>
                  <a:cubicBezTo>
                    <a:pt x="694" y="849"/>
                    <a:pt x="692" y="846"/>
                    <a:pt x="690" y="842"/>
                  </a:cubicBezTo>
                  <a:cubicBezTo>
                    <a:pt x="685" y="829"/>
                    <a:pt x="679" y="817"/>
                    <a:pt x="673" y="805"/>
                  </a:cubicBezTo>
                  <a:lnTo>
                    <a:pt x="677" y="802"/>
                  </a:lnTo>
                  <a:cubicBezTo>
                    <a:pt x="688" y="794"/>
                    <a:pt x="699" y="786"/>
                    <a:pt x="710" y="778"/>
                  </a:cubicBezTo>
                  <a:cubicBezTo>
                    <a:pt x="721" y="769"/>
                    <a:pt x="732" y="759"/>
                    <a:pt x="744" y="749"/>
                  </a:cubicBezTo>
                  <a:lnTo>
                    <a:pt x="748" y="752"/>
                  </a:lnTo>
                  <a:cubicBezTo>
                    <a:pt x="761" y="762"/>
                    <a:pt x="773" y="772"/>
                    <a:pt x="786" y="782"/>
                  </a:cubicBezTo>
                  <a:cubicBezTo>
                    <a:pt x="793" y="787"/>
                    <a:pt x="801" y="787"/>
                    <a:pt x="806" y="780"/>
                  </a:cubicBezTo>
                  <a:cubicBezTo>
                    <a:pt x="819" y="765"/>
                    <a:pt x="832" y="749"/>
                    <a:pt x="844" y="733"/>
                  </a:cubicBezTo>
                  <a:cubicBezTo>
                    <a:pt x="849" y="726"/>
                    <a:pt x="847" y="719"/>
                    <a:pt x="841" y="714"/>
                  </a:cubicBezTo>
                  <a:cubicBezTo>
                    <a:pt x="828" y="703"/>
                    <a:pt x="815" y="693"/>
                    <a:pt x="802" y="682"/>
                  </a:cubicBezTo>
                  <a:lnTo>
                    <a:pt x="798" y="679"/>
                  </a:lnTo>
                  <a:cubicBezTo>
                    <a:pt x="815" y="653"/>
                    <a:pt x="827" y="626"/>
                    <a:pt x="838" y="598"/>
                  </a:cubicBezTo>
                  <a:cubicBezTo>
                    <a:pt x="856" y="602"/>
                    <a:pt x="873" y="606"/>
                    <a:pt x="891" y="610"/>
                  </a:cubicBezTo>
                  <a:lnTo>
                    <a:pt x="891" y="610"/>
                  </a:lnTo>
                  <a:cubicBezTo>
                    <a:pt x="900" y="611"/>
                    <a:pt x="906" y="608"/>
                    <a:pt x="908" y="599"/>
                  </a:cubicBezTo>
                  <a:cubicBezTo>
                    <a:pt x="910" y="593"/>
                    <a:pt x="912" y="586"/>
                    <a:pt x="914" y="580"/>
                  </a:cubicBezTo>
                  <a:cubicBezTo>
                    <a:pt x="916" y="568"/>
                    <a:pt x="919" y="555"/>
                    <a:pt x="922" y="543"/>
                  </a:cubicBezTo>
                  <a:lnTo>
                    <a:pt x="922" y="534"/>
                  </a:lnTo>
                  <a:cubicBezTo>
                    <a:pt x="919" y="528"/>
                    <a:pt x="914" y="525"/>
                    <a:pt x="907" y="524"/>
                  </a:cubicBezTo>
                  <a:cubicBezTo>
                    <a:pt x="897" y="522"/>
                    <a:pt x="886" y="519"/>
                    <a:pt x="876" y="516"/>
                  </a:cubicBezTo>
                  <a:cubicBezTo>
                    <a:pt x="869" y="515"/>
                    <a:pt x="863" y="513"/>
                    <a:pt x="858" y="512"/>
                  </a:cubicBezTo>
                  <a:cubicBezTo>
                    <a:pt x="858" y="496"/>
                    <a:pt x="859" y="481"/>
                    <a:pt x="859" y="466"/>
                  </a:cubicBezTo>
                  <a:cubicBezTo>
                    <a:pt x="859" y="452"/>
                    <a:pt x="858" y="437"/>
                    <a:pt x="858" y="422"/>
                  </a:cubicBezTo>
                  <a:cubicBezTo>
                    <a:pt x="874" y="418"/>
                    <a:pt x="891" y="414"/>
                    <a:pt x="907" y="410"/>
                  </a:cubicBezTo>
                  <a:cubicBezTo>
                    <a:pt x="914" y="408"/>
                    <a:pt x="919" y="406"/>
                    <a:pt x="922" y="399"/>
                  </a:cubicBez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8">
              <a:extLst>
                <a:ext uri="{FF2B5EF4-FFF2-40B4-BE49-F238E27FC236}">
                  <a16:creationId xmlns:a16="http://schemas.microsoft.com/office/drawing/2014/main" id="{03636980-E50D-F830-8418-623858D7C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35513" y="1943100"/>
              <a:ext cx="369888" cy="393700"/>
            </a:xfrm>
            <a:custGeom>
              <a:avLst/>
              <a:gdLst>
                <a:gd name="T0" fmla="*/ 50 w 817"/>
                <a:gd name="T1" fmla="*/ 223 h 861"/>
                <a:gd name="T2" fmla="*/ 46 w 817"/>
                <a:gd name="T3" fmla="*/ 220 h 861"/>
                <a:gd name="T4" fmla="*/ 8 w 817"/>
                <a:gd name="T5" fmla="*/ 189 h 861"/>
                <a:gd name="T6" fmla="*/ 5 w 817"/>
                <a:gd name="T7" fmla="*/ 170 h 861"/>
                <a:gd name="T8" fmla="*/ 42 w 817"/>
                <a:gd name="T9" fmla="*/ 122 h 861"/>
                <a:gd name="T10" fmla="*/ 62 w 817"/>
                <a:gd name="T11" fmla="*/ 121 h 861"/>
                <a:gd name="T12" fmla="*/ 105 w 817"/>
                <a:gd name="T13" fmla="*/ 154 h 861"/>
                <a:gd name="T14" fmla="*/ 176 w 817"/>
                <a:gd name="T15" fmla="*/ 98 h 861"/>
                <a:gd name="T16" fmla="*/ 171 w 817"/>
                <a:gd name="T17" fmla="*/ 87 h 861"/>
                <a:gd name="T18" fmla="*/ 153 w 817"/>
                <a:gd name="T19" fmla="*/ 49 h 861"/>
                <a:gd name="T20" fmla="*/ 159 w 817"/>
                <a:gd name="T21" fmla="*/ 29 h 861"/>
                <a:gd name="T22" fmla="*/ 212 w 817"/>
                <a:gd name="T23" fmla="*/ 4 h 861"/>
                <a:gd name="T24" fmla="*/ 232 w 817"/>
                <a:gd name="T25" fmla="*/ 12 h 861"/>
                <a:gd name="T26" fmla="*/ 253 w 817"/>
                <a:gd name="T27" fmla="*/ 56 h 861"/>
                <a:gd name="T28" fmla="*/ 260 w 817"/>
                <a:gd name="T29" fmla="*/ 58 h 861"/>
                <a:gd name="T30" fmla="*/ 288 w 817"/>
                <a:gd name="T31" fmla="*/ 50 h 861"/>
                <a:gd name="T32" fmla="*/ 817 w 817"/>
                <a:gd name="T33" fmla="*/ 578 h 861"/>
                <a:gd name="T34" fmla="*/ 817 w 817"/>
                <a:gd name="T35" fmla="*/ 578 h 861"/>
                <a:gd name="T36" fmla="*/ 764 w 817"/>
                <a:gd name="T37" fmla="*/ 567 h 861"/>
                <a:gd name="T38" fmla="*/ 724 w 817"/>
                <a:gd name="T39" fmla="*/ 648 h 861"/>
                <a:gd name="T40" fmla="*/ 728 w 817"/>
                <a:gd name="T41" fmla="*/ 651 h 861"/>
                <a:gd name="T42" fmla="*/ 767 w 817"/>
                <a:gd name="T43" fmla="*/ 683 h 861"/>
                <a:gd name="T44" fmla="*/ 770 w 817"/>
                <a:gd name="T45" fmla="*/ 702 h 861"/>
                <a:gd name="T46" fmla="*/ 732 w 817"/>
                <a:gd name="T47" fmla="*/ 749 h 861"/>
                <a:gd name="T48" fmla="*/ 712 w 817"/>
                <a:gd name="T49" fmla="*/ 750 h 861"/>
                <a:gd name="T50" fmla="*/ 674 w 817"/>
                <a:gd name="T51" fmla="*/ 721 h 861"/>
                <a:gd name="T52" fmla="*/ 670 w 817"/>
                <a:gd name="T53" fmla="*/ 717 h 861"/>
                <a:gd name="T54" fmla="*/ 636 w 817"/>
                <a:gd name="T55" fmla="*/ 747 h 861"/>
                <a:gd name="T56" fmla="*/ 599 w 817"/>
                <a:gd name="T57" fmla="*/ 774 h 861"/>
                <a:gd name="T58" fmla="*/ 617 w 817"/>
                <a:gd name="T59" fmla="*/ 811 h 861"/>
                <a:gd name="T60" fmla="*/ 622 w 817"/>
                <a:gd name="T61" fmla="*/ 822 h 861"/>
                <a:gd name="T62" fmla="*/ 616 w 817"/>
                <a:gd name="T63" fmla="*/ 842 h 861"/>
                <a:gd name="T64" fmla="*/ 590 w 817"/>
                <a:gd name="T65" fmla="*/ 856 h 861"/>
                <a:gd name="T66" fmla="*/ 579 w 817"/>
                <a:gd name="T67" fmla="*/ 861 h 861"/>
                <a:gd name="T68" fmla="*/ 14 w 817"/>
                <a:gd name="T69" fmla="*/ 295 h 861"/>
                <a:gd name="T70" fmla="*/ 28 w 817"/>
                <a:gd name="T71" fmla="*/ 263 h 861"/>
                <a:gd name="T72" fmla="*/ 50 w 817"/>
                <a:gd name="T73" fmla="*/ 223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17" h="861">
                  <a:moveTo>
                    <a:pt x="50" y="223"/>
                  </a:moveTo>
                  <a:lnTo>
                    <a:pt x="46" y="220"/>
                  </a:lnTo>
                  <a:cubicBezTo>
                    <a:pt x="33" y="209"/>
                    <a:pt x="20" y="199"/>
                    <a:pt x="8" y="189"/>
                  </a:cubicBezTo>
                  <a:cubicBezTo>
                    <a:pt x="1" y="184"/>
                    <a:pt x="0" y="176"/>
                    <a:pt x="5" y="170"/>
                  </a:cubicBezTo>
                  <a:cubicBezTo>
                    <a:pt x="17" y="153"/>
                    <a:pt x="29" y="138"/>
                    <a:pt x="42" y="122"/>
                  </a:cubicBezTo>
                  <a:cubicBezTo>
                    <a:pt x="48" y="115"/>
                    <a:pt x="56" y="116"/>
                    <a:pt x="62" y="121"/>
                  </a:cubicBezTo>
                  <a:cubicBezTo>
                    <a:pt x="77" y="132"/>
                    <a:pt x="91" y="143"/>
                    <a:pt x="105" y="154"/>
                  </a:cubicBezTo>
                  <a:cubicBezTo>
                    <a:pt x="127" y="133"/>
                    <a:pt x="150" y="114"/>
                    <a:pt x="176" y="98"/>
                  </a:cubicBezTo>
                  <a:cubicBezTo>
                    <a:pt x="174" y="94"/>
                    <a:pt x="172" y="91"/>
                    <a:pt x="171" y="87"/>
                  </a:cubicBezTo>
                  <a:cubicBezTo>
                    <a:pt x="165" y="75"/>
                    <a:pt x="159" y="62"/>
                    <a:pt x="153" y="49"/>
                  </a:cubicBezTo>
                  <a:cubicBezTo>
                    <a:pt x="149" y="41"/>
                    <a:pt x="150" y="34"/>
                    <a:pt x="159" y="29"/>
                  </a:cubicBezTo>
                  <a:cubicBezTo>
                    <a:pt x="176" y="20"/>
                    <a:pt x="194" y="12"/>
                    <a:pt x="212" y="4"/>
                  </a:cubicBezTo>
                  <a:cubicBezTo>
                    <a:pt x="219" y="0"/>
                    <a:pt x="228" y="2"/>
                    <a:pt x="232" y="12"/>
                  </a:cubicBezTo>
                  <a:cubicBezTo>
                    <a:pt x="238" y="26"/>
                    <a:pt x="246" y="41"/>
                    <a:pt x="253" y="56"/>
                  </a:cubicBezTo>
                  <a:cubicBezTo>
                    <a:pt x="255" y="59"/>
                    <a:pt x="256" y="60"/>
                    <a:pt x="260" y="58"/>
                  </a:cubicBezTo>
                  <a:cubicBezTo>
                    <a:pt x="269" y="55"/>
                    <a:pt x="279" y="52"/>
                    <a:pt x="288" y="50"/>
                  </a:cubicBezTo>
                  <a:lnTo>
                    <a:pt x="817" y="578"/>
                  </a:lnTo>
                  <a:lnTo>
                    <a:pt x="817" y="578"/>
                  </a:lnTo>
                  <a:cubicBezTo>
                    <a:pt x="799" y="575"/>
                    <a:pt x="782" y="571"/>
                    <a:pt x="764" y="567"/>
                  </a:cubicBezTo>
                  <a:cubicBezTo>
                    <a:pt x="754" y="595"/>
                    <a:pt x="741" y="622"/>
                    <a:pt x="724" y="648"/>
                  </a:cubicBezTo>
                  <a:lnTo>
                    <a:pt x="728" y="651"/>
                  </a:lnTo>
                  <a:cubicBezTo>
                    <a:pt x="741" y="662"/>
                    <a:pt x="754" y="672"/>
                    <a:pt x="767" y="683"/>
                  </a:cubicBezTo>
                  <a:cubicBezTo>
                    <a:pt x="773" y="688"/>
                    <a:pt x="775" y="695"/>
                    <a:pt x="770" y="702"/>
                  </a:cubicBezTo>
                  <a:cubicBezTo>
                    <a:pt x="758" y="718"/>
                    <a:pt x="745" y="734"/>
                    <a:pt x="732" y="749"/>
                  </a:cubicBezTo>
                  <a:cubicBezTo>
                    <a:pt x="727" y="756"/>
                    <a:pt x="719" y="756"/>
                    <a:pt x="712" y="750"/>
                  </a:cubicBezTo>
                  <a:cubicBezTo>
                    <a:pt x="699" y="741"/>
                    <a:pt x="687" y="731"/>
                    <a:pt x="674" y="721"/>
                  </a:cubicBezTo>
                  <a:lnTo>
                    <a:pt x="670" y="717"/>
                  </a:lnTo>
                  <a:cubicBezTo>
                    <a:pt x="658" y="728"/>
                    <a:pt x="647" y="738"/>
                    <a:pt x="636" y="747"/>
                  </a:cubicBezTo>
                  <a:cubicBezTo>
                    <a:pt x="624" y="756"/>
                    <a:pt x="612" y="765"/>
                    <a:pt x="599" y="774"/>
                  </a:cubicBezTo>
                  <a:cubicBezTo>
                    <a:pt x="605" y="786"/>
                    <a:pt x="611" y="798"/>
                    <a:pt x="617" y="811"/>
                  </a:cubicBezTo>
                  <a:cubicBezTo>
                    <a:pt x="618" y="815"/>
                    <a:pt x="620" y="818"/>
                    <a:pt x="622" y="822"/>
                  </a:cubicBezTo>
                  <a:cubicBezTo>
                    <a:pt x="626" y="831"/>
                    <a:pt x="624" y="838"/>
                    <a:pt x="616" y="842"/>
                  </a:cubicBezTo>
                  <a:cubicBezTo>
                    <a:pt x="607" y="847"/>
                    <a:pt x="598" y="852"/>
                    <a:pt x="590" y="856"/>
                  </a:cubicBezTo>
                  <a:cubicBezTo>
                    <a:pt x="586" y="858"/>
                    <a:pt x="583" y="859"/>
                    <a:pt x="579" y="861"/>
                  </a:cubicBezTo>
                  <a:lnTo>
                    <a:pt x="14" y="295"/>
                  </a:lnTo>
                  <a:cubicBezTo>
                    <a:pt x="19" y="284"/>
                    <a:pt x="23" y="274"/>
                    <a:pt x="28" y="263"/>
                  </a:cubicBezTo>
                  <a:cubicBezTo>
                    <a:pt x="35" y="250"/>
                    <a:pt x="42" y="237"/>
                    <a:pt x="50" y="223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Oval 29">
              <a:extLst>
                <a:ext uri="{FF2B5EF4-FFF2-40B4-BE49-F238E27FC236}">
                  <a16:creationId xmlns:a16="http://schemas.microsoft.com/office/drawing/2014/main" id="{DFCDB860-96CC-F033-3937-08873234E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05338" y="2097087"/>
              <a:ext cx="88900" cy="90488"/>
            </a:xfrm>
            <a:prstGeom prst="ellipse">
              <a:avLst/>
            </a:prstGeom>
            <a:solidFill>
              <a:srgbClr val="767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">
              <a:extLst>
                <a:ext uri="{FF2B5EF4-FFF2-40B4-BE49-F238E27FC236}">
                  <a16:creationId xmlns:a16="http://schemas.microsoft.com/office/drawing/2014/main" id="{8D44835B-F63B-51D3-20A7-32DDB41472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91063" y="2011362"/>
              <a:ext cx="260350" cy="261938"/>
            </a:xfrm>
            <a:custGeom>
              <a:avLst/>
              <a:gdLst>
                <a:gd name="T0" fmla="*/ 543 w 576"/>
                <a:gd name="T1" fmla="*/ 287 h 575"/>
                <a:gd name="T2" fmla="*/ 309 w 576"/>
                <a:gd name="T3" fmla="*/ 541 h 575"/>
                <a:gd name="T4" fmla="*/ 288 w 576"/>
                <a:gd name="T5" fmla="*/ 542 h 575"/>
                <a:gd name="T6" fmla="*/ 34 w 576"/>
                <a:gd name="T7" fmla="*/ 287 h 575"/>
                <a:gd name="T8" fmla="*/ 34 w 576"/>
                <a:gd name="T9" fmla="*/ 267 h 575"/>
                <a:gd name="T10" fmla="*/ 288 w 576"/>
                <a:gd name="T11" fmla="*/ 33 h 575"/>
                <a:gd name="T12" fmla="*/ 323 w 576"/>
                <a:gd name="T13" fmla="*/ 35 h 575"/>
                <a:gd name="T14" fmla="*/ 540 w 576"/>
                <a:gd name="T15" fmla="*/ 253 h 575"/>
                <a:gd name="T16" fmla="*/ 543 w 576"/>
                <a:gd name="T17" fmla="*/ 287 h 575"/>
                <a:gd name="T18" fmla="*/ 288 w 576"/>
                <a:gd name="T19" fmla="*/ 0 h 575"/>
                <a:gd name="T20" fmla="*/ 287 w 576"/>
                <a:gd name="T21" fmla="*/ 0 h 575"/>
                <a:gd name="T22" fmla="*/ 5 w 576"/>
                <a:gd name="T23" fmla="*/ 237 h 575"/>
                <a:gd name="T24" fmla="*/ 0 w 576"/>
                <a:gd name="T25" fmla="*/ 287 h 575"/>
                <a:gd name="T26" fmla="*/ 288 w 576"/>
                <a:gd name="T27" fmla="*/ 575 h 575"/>
                <a:gd name="T28" fmla="*/ 338 w 576"/>
                <a:gd name="T29" fmla="*/ 571 h 575"/>
                <a:gd name="T30" fmla="*/ 576 w 576"/>
                <a:gd name="T31" fmla="*/ 289 h 575"/>
                <a:gd name="T32" fmla="*/ 576 w 576"/>
                <a:gd name="T33" fmla="*/ 287 h 575"/>
                <a:gd name="T34" fmla="*/ 288 w 576"/>
                <a:gd name="T35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6" h="575">
                  <a:moveTo>
                    <a:pt x="543" y="287"/>
                  </a:moveTo>
                  <a:cubicBezTo>
                    <a:pt x="543" y="421"/>
                    <a:pt x="440" y="531"/>
                    <a:pt x="309" y="541"/>
                  </a:cubicBezTo>
                  <a:cubicBezTo>
                    <a:pt x="302" y="542"/>
                    <a:pt x="295" y="542"/>
                    <a:pt x="288" y="542"/>
                  </a:cubicBezTo>
                  <a:cubicBezTo>
                    <a:pt x="148" y="542"/>
                    <a:pt x="34" y="428"/>
                    <a:pt x="34" y="287"/>
                  </a:cubicBezTo>
                  <a:cubicBezTo>
                    <a:pt x="34" y="280"/>
                    <a:pt x="34" y="274"/>
                    <a:pt x="34" y="267"/>
                  </a:cubicBezTo>
                  <a:cubicBezTo>
                    <a:pt x="45" y="136"/>
                    <a:pt x="155" y="33"/>
                    <a:pt x="288" y="33"/>
                  </a:cubicBezTo>
                  <a:cubicBezTo>
                    <a:pt x="300" y="33"/>
                    <a:pt x="312" y="34"/>
                    <a:pt x="323" y="35"/>
                  </a:cubicBezTo>
                  <a:cubicBezTo>
                    <a:pt x="436" y="51"/>
                    <a:pt x="525" y="140"/>
                    <a:pt x="540" y="253"/>
                  </a:cubicBezTo>
                  <a:cubicBezTo>
                    <a:pt x="542" y="264"/>
                    <a:pt x="543" y="276"/>
                    <a:pt x="543" y="287"/>
                  </a:cubicBezTo>
                  <a:close/>
                  <a:moveTo>
                    <a:pt x="288" y="0"/>
                  </a:moveTo>
                  <a:lnTo>
                    <a:pt x="287" y="0"/>
                  </a:lnTo>
                  <a:cubicBezTo>
                    <a:pt x="146" y="0"/>
                    <a:pt x="28" y="102"/>
                    <a:pt x="5" y="237"/>
                  </a:cubicBezTo>
                  <a:cubicBezTo>
                    <a:pt x="2" y="253"/>
                    <a:pt x="0" y="270"/>
                    <a:pt x="0" y="287"/>
                  </a:cubicBezTo>
                  <a:cubicBezTo>
                    <a:pt x="0" y="446"/>
                    <a:pt x="129" y="575"/>
                    <a:pt x="288" y="575"/>
                  </a:cubicBezTo>
                  <a:cubicBezTo>
                    <a:pt x="305" y="575"/>
                    <a:pt x="322" y="574"/>
                    <a:pt x="338" y="571"/>
                  </a:cubicBezTo>
                  <a:cubicBezTo>
                    <a:pt x="473" y="547"/>
                    <a:pt x="575" y="430"/>
                    <a:pt x="576" y="289"/>
                  </a:cubicBezTo>
                  <a:lnTo>
                    <a:pt x="576" y="287"/>
                  </a:lnTo>
                  <a:cubicBezTo>
                    <a:pt x="576" y="128"/>
                    <a:pt x="447" y="0"/>
                    <a:pt x="288" y="0"/>
                  </a:cubicBezTo>
                </a:path>
              </a:pathLst>
            </a:custGeom>
            <a:solidFill>
              <a:srgbClr val="6E87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1">
              <a:extLst>
                <a:ext uri="{FF2B5EF4-FFF2-40B4-BE49-F238E27FC236}">
                  <a16:creationId xmlns:a16="http://schemas.microsoft.com/office/drawing/2014/main" id="{9085B1F8-8236-EE27-2306-342D852EF4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59575" y="2955925"/>
              <a:ext cx="415925" cy="427038"/>
            </a:xfrm>
            <a:custGeom>
              <a:avLst/>
              <a:gdLst>
                <a:gd name="T0" fmla="*/ 587 w 921"/>
                <a:gd name="T1" fmla="*/ 466 h 933"/>
                <a:gd name="T2" fmla="*/ 921 w 921"/>
                <a:gd name="T3" fmla="*/ 399 h 933"/>
                <a:gd name="T4" fmla="*/ 908 w 921"/>
                <a:gd name="T5" fmla="*/ 335 h 933"/>
                <a:gd name="T6" fmla="*/ 835 w 921"/>
                <a:gd name="T7" fmla="*/ 331 h 933"/>
                <a:gd name="T8" fmla="*/ 802 w 921"/>
                <a:gd name="T9" fmla="*/ 251 h 933"/>
                <a:gd name="T10" fmla="*/ 806 w 921"/>
                <a:gd name="T11" fmla="*/ 153 h 933"/>
                <a:gd name="T12" fmla="*/ 743 w 921"/>
                <a:gd name="T13" fmla="*/ 185 h 933"/>
                <a:gd name="T14" fmla="*/ 691 w 921"/>
                <a:gd name="T15" fmla="*/ 90 h 933"/>
                <a:gd name="T16" fmla="*/ 684 w 921"/>
                <a:gd name="T17" fmla="*/ 57 h 933"/>
                <a:gd name="T18" fmla="*/ 617 w 921"/>
                <a:gd name="T19" fmla="*/ 43 h 933"/>
                <a:gd name="T20" fmla="*/ 509 w 921"/>
                <a:gd name="T21" fmla="*/ 72 h 933"/>
                <a:gd name="T22" fmla="*/ 490 w 921"/>
                <a:gd name="T23" fmla="*/ 1 h 933"/>
                <a:gd name="T24" fmla="*/ 432 w 921"/>
                <a:gd name="T25" fmla="*/ 1 h 933"/>
                <a:gd name="T26" fmla="*/ 413 w 921"/>
                <a:gd name="T27" fmla="*/ 71 h 933"/>
                <a:gd name="T28" fmla="*/ 305 w 921"/>
                <a:gd name="T29" fmla="*/ 43 h 933"/>
                <a:gd name="T30" fmla="*/ 232 w 921"/>
                <a:gd name="T31" fmla="*/ 61 h 933"/>
                <a:gd name="T32" fmla="*/ 249 w 921"/>
                <a:gd name="T33" fmla="*/ 129 h 933"/>
                <a:gd name="T34" fmla="*/ 116 w 921"/>
                <a:gd name="T35" fmla="*/ 153 h 933"/>
                <a:gd name="T36" fmla="*/ 119 w 921"/>
                <a:gd name="T37" fmla="*/ 251 h 933"/>
                <a:gd name="T38" fmla="*/ 84 w 921"/>
                <a:gd name="T39" fmla="*/ 335 h 933"/>
                <a:gd name="T40" fmla="*/ 44 w 921"/>
                <a:gd name="T41" fmla="*/ 327 h 933"/>
                <a:gd name="T42" fmla="*/ 8 w 921"/>
                <a:gd name="T43" fmla="*/ 355 h 933"/>
                <a:gd name="T44" fmla="*/ 14 w 921"/>
                <a:gd name="T45" fmla="*/ 410 h 933"/>
                <a:gd name="T46" fmla="*/ 63 w 921"/>
                <a:gd name="T47" fmla="*/ 512 h 933"/>
                <a:gd name="T48" fmla="*/ 0 w 921"/>
                <a:gd name="T49" fmla="*/ 535 h 933"/>
                <a:gd name="T50" fmla="*/ 13 w 921"/>
                <a:gd name="T51" fmla="*/ 598 h 933"/>
                <a:gd name="T52" fmla="*/ 84 w 921"/>
                <a:gd name="T53" fmla="*/ 598 h 933"/>
                <a:gd name="T54" fmla="*/ 78 w 921"/>
                <a:gd name="T55" fmla="*/ 733 h 933"/>
                <a:gd name="T56" fmla="*/ 136 w 921"/>
                <a:gd name="T57" fmla="*/ 781 h 933"/>
                <a:gd name="T58" fmla="*/ 212 w 921"/>
                <a:gd name="T59" fmla="*/ 778 h 933"/>
                <a:gd name="T60" fmla="*/ 226 w 921"/>
                <a:gd name="T61" fmla="*/ 854 h 933"/>
                <a:gd name="T62" fmla="*/ 305 w 921"/>
                <a:gd name="T63" fmla="*/ 892 h 933"/>
                <a:gd name="T64" fmla="*/ 417 w 921"/>
                <a:gd name="T65" fmla="*/ 863 h 933"/>
                <a:gd name="T66" fmla="*/ 491 w 921"/>
                <a:gd name="T67" fmla="*/ 932 h 933"/>
                <a:gd name="T68" fmla="*/ 505 w 921"/>
                <a:gd name="T69" fmla="*/ 863 h 933"/>
                <a:gd name="T70" fmla="*/ 593 w 921"/>
                <a:gd name="T71" fmla="*/ 843 h 933"/>
                <a:gd name="T72" fmla="*/ 637 w 921"/>
                <a:gd name="T73" fmla="*/ 898 h 933"/>
                <a:gd name="T74" fmla="*/ 695 w 921"/>
                <a:gd name="T75" fmla="*/ 853 h 933"/>
                <a:gd name="T76" fmla="*/ 709 w 921"/>
                <a:gd name="T77" fmla="*/ 778 h 933"/>
                <a:gd name="T78" fmla="*/ 785 w 921"/>
                <a:gd name="T79" fmla="*/ 782 h 933"/>
                <a:gd name="T80" fmla="*/ 840 w 921"/>
                <a:gd name="T81" fmla="*/ 714 h 933"/>
                <a:gd name="T82" fmla="*/ 809 w 921"/>
                <a:gd name="T83" fmla="*/ 660 h 933"/>
                <a:gd name="T84" fmla="*/ 837 w 921"/>
                <a:gd name="T85" fmla="*/ 598 h 933"/>
                <a:gd name="T86" fmla="*/ 913 w 921"/>
                <a:gd name="T87" fmla="*/ 580 h 933"/>
                <a:gd name="T88" fmla="*/ 907 w 921"/>
                <a:gd name="T89" fmla="*/ 524 h 933"/>
                <a:gd name="T90" fmla="*/ 859 w 921"/>
                <a:gd name="T91" fmla="*/ 466 h 933"/>
                <a:gd name="T92" fmla="*/ 921 w 921"/>
                <a:gd name="T93" fmla="*/ 399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21" h="933">
                  <a:moveTo>
                    <a:pt x="334" y="466"/>
                  </a:moveTo>
                  <a:cubicBezTo>
                    <a:pt x="334" y="397"/>
                    <a:pt x="391" y="340"/>
                    <a:pt x="461" y="340"/>
                  </a:cubicBezTo>
                  <a:cubicBezTo>
                    <a:pt x="530" y="340"/>
                    <a:pt x="587" y="397"/>
                    <a:pt x="587" y="466"/>
                  </a:cubicBezTo>
                  <a:cubicBezTo>
                    <a:pt x="587" y="536"/>
                    <a:pt x="530" y="592"/>
                    <a:pt x="461" y="592"/>
                  </a:cubicBezTo>
                  <a:cubicBezTo>
                    <a:pt x="391" y="592"/>
                    <a:pt x="334" y="536"/>
                    <a:pt x="334" y="466"/>
                  </a:cubicBezTo>
                  <a:close/>
                  <a:moveTo>
                    <a:pt x="921" y="399"/>
                  </a:moveTo>
                  <a:lnTo>
                    <a:pt x="921" y="390"/>
                  </a:lnTo>
                  <a:cubicBezTo>
                    <a:pt x="921" y="387"/>
                    <a:pt x="920" y="384"/>
                    <a:pt x="919" y="382"/>
                  </a:cubicBezTo>
                  <a:cubicBezTo>
                    <a:pt x="915" y="366"/>
                    <a:pt x="912" y="350"/>
                    <a:pt x="908" y="335"/>
                  </a:cubicBezTo>
                  <a:cubicBezTo>
                    <a:pt x="906" y="326"/>
                    <a:pt x="899" y="322"/>
                    <a:pt x="890" y="324"/>
                  </a:cubicBezTo>
                  <a:cubicBezTo>
                    <a:pt x="874" y="328"/>
                    <a:pt x="858" y="331"/>
                    <a:pt x="842" y="335"/>
                  </a:cubicBezTo>
                  <a:cubicBezTo>
                    <a:pt x="838" y="336"/>
                    <a:pt x="837" y="335"/>
                    <a:pt x="835" y="331"/>
                  </a:cubicBezTo>
                  <a:cubicBezTo>
                    <a:pt x="828" y="315"/>
                    <a:pt x="821" y="298"/>
                    <a:pt x="813" y="282"/>
                  </a:cubicBezTo>
                  <a:cubicBezTo>
                    <a:pt x="809" y="272"/>
                    <a:pt x="803" y="263"/>
                    <a:pt x="798" y="254"/>
                  </a:cubicBezTo>
                  <a:lnTo>
                    <a:pt x="802" y="251"/>
                  </a:lnTo>
                  <a:cubicBezTo>
                    <a:pt x="814" y="241"/>
                    <a:pt x="827" y="230"/>
                    <a:pt x="840" y="220"/>
                  </a:cubicBezTo>
                  <a:cubicBezTo>
                    <a:pt x="847" y="214"/>
                    <a:pt x="848" y="207"/>
                    <a:pt x="843" y="201"/>
                  </a:cubicBezTo>
                  <a:cubicBezTo>
                    <a:pt x="831" y="185"/>
                    <a:pt x="819" y="169"/>
                    <a:pt x="806" y="153"/>
                  </a:cubicBezTo>
                  <a:cubicBezTo>
                    <a:pt x="800" y="147"/>
                    <a:pt x="792" y="147"/>
                    <a:pt x="786" y="152"/>
                  </a:cubicBezTo>
                  <a:cubicBezTo>
                    <a:pt x="775" y="160"/>
                    <a:pt x="764" y="169"/>
                    <a:pt x="753" y="177"/>
                  </a:cubicBezTo>
                  <a:cubicBezTo>
                    <a:pt x="750" y="180"/>
                    <a:pt x="746" y="183"/>
                    <a:pt x="743" y="185"/>
                  </a:cubicBezTo>
                  <a:cubicBezTo>
                    <a:pt x="721" y="164"/>
                    <a:pt x="698" y="145"/>
                    <a:pt x="672" y="129"/>
                  </a:cubicBezTo>
                  <a:cubicBezTo>
                    <a:pt x="673" y="127"/>
                    <a:pt x="674" y="126"/>
                    <a:pt x="674" y="125"/>
                  </a:cubicBezTo>
                  <a:cubicBezTo>
                    <a:pt x="680" y="113"/>
                    <a:pt x="685" y="102"/>
                    <a:pt x="691" y="90"/>
                  </a:cubicBezTo>
                  <a:lnTo>
                    <a:pt x="695" y="81"/>
                  </a:lnTo>
                  <a:cubicBezTo>
                    <a:pt x="699" y="71"/>
                    <a:pt x="697" y="65"/>
                    <a:pt x="688" y="60"/>
                  </a:cubicBezTo>
                  <a:cubicBezTo>
                    <a:pt x="687" y="59"/>
                    <a:pt x="685" y="58"/>
                    <a:pt x="684" y="57"/>
                  </a:cubicBezTo>
                  <a:cubicBezTo>
                    <a:pt x="676" y="53"/>
                    <a:pt x="668" y="49"/>
                    <a:pt x="660" y="45"/>
                  </a:cubicBezTo>
                  <a:cubicBezTo>
                    <a:pt x="653" y="42"/>
                    <a:pt x="644" y="38"/>
                    <a:pt x="636" y="35"/>
                  </a:cubicBezTo>
                  <a:cubicBezTo>
                    <a:pt x="627" y="31"/>
                    <a:pt x="621" y="34"/>
                    <a:pt x="617" y="43"/>
                  </a:cubicBezTo>
                  <a:cubicBezTo>
                    <a:pt x="609" y="57"/>
                    <a:pt x="602" y="71"/>
                    <a:pt x="595" y="86"/>
                  </a:cubicBezTo>
                  <a:cubicBezTo>
                    <a:pt x="593" y="90"/>
                    <a:pt x="592" y="91"/>
                    <a:pt x="587" y="89"/>
                  </a:cubicBezTo>
                  <a:cubicBezTo>
                    <a:pt x="562" y="80"/>
                    <a:pt x="536" y="75"/>
                    <a:pt x="509" y="72"/>
                  </a:cubicBezTo>
                  <a:cubicBezTo>
                    <a:pt x="505" y="71"/>
                    <a:pt x="505" y="70"/>
                    <a:pt x="505" y="66"/>
                  </a:cubicBezTo>
                  <a:cubicBezTo>
                    <a:pt x="505" y="50"/>
                    <a:pt x="504" y="33"/>
                    <a:pt x="504" y="17"/>
                  </a:cubicBezTo>
                  <a:cubicBezTo>
                    <a:pt x="504" y="8"/>
                    <a:pt x="499" y="2"/>
                    <a:pt x="490" y="1"/>
                  </a:cubicBezTo>
                  <a:cubicBezTo>
                    <a:pt x="487" y="1"/>
                    <a:pt x="484" y="1"/>
                    <a:pt x="482" y="0"/>
                  </a:cubicBezTo>
                  <a:lnTo>
                    <a:pt x="440" y="0"/>
                  </a:lnTo>
                  <a:cubicBezTo>
                    <a:pt x="437" y="1"/>
                    <a:pt x="435" y="1"/>
                    <a:pt x="432" y="1"/>
                  </a:cubicBezTo>
                  <a:cubicBezTo>
                    <a:pt x="422" y="2"/>
                    <a:pt x="417" y="7"/>
                    <a:pt x="417" y="17"/>
                  </a:cubicBezTo>
                  <a:cubicBezTo>
                    <a:pt x="417" y="34"/>
                    <a:pt x="417" y="50"/>
                    <a:pt x="417" y="67"/>
                  </a:cubicBezTo>
                  <a:cubicBezTo>
                    <a:pt x="417" y="70"/>
                    <a:pt x="416" y="71"/>
                    <a:pt x="413" y="71"/>
                  </a:cubicBezTo>
                  <a:cubicBezTo>
                    <a:pt x="386" y="75"/>
                    <a:pt x="359" y="81"/>
                    <a:pt x="333" y="89"/>
                  </a:cubicBezTo>
                  <a:cubicBezTo>
                    <a:pt x="329" y="91"/>
                    <a:pt x="328" y="90"/>
                    <a:pt x="326" y="87"/>
                  </a:cubicBezTo>
                  <a:cubicBezTo>
                    <a:pt x="319" y="72"/>
                    <a:pt x="312" y="58"/>
                    <a:pt x="305" y="43"/>
                  </a:cubicBezTo>
                  <a:cubicBezTo>
                    <a:pt x="301" y="34"/>
                    <a:pt x="292" y="31"/>
                    <a:pt x="285" y="35"/>
                  </a:cubicBezTo>
                  <a:lnTo>
                    <a:pt x="276" y="39"/>
                  </a:lnTo>
                  <a:cubicBezTo>
                    <a:pt x="261" y="46"/>
                    <a:pt x="246" y="53"/>
                    <a:pt x="232" y="61"/>
                  </a:cubicBezTo>
                  <a:cubicBezTo>
                    <a:pt x="224" y="65"/>
                    <a:pt x="222" y="72"/>
                    <a:pt x="226" y="80"/>
                  </a:cubicBezTo>
                  <a:cubicBezTo>
                    <a:pt x="232" y="93"/>
                    <a:pt x="238" y="106"/>
                    <a:pt x="244" y="118"/>
                  </a:cubicBezTo>
                  <a:cubicBezTo>
                    <a:pt x="246" y="122"/>
                    <a:pt x="247" y="125"/>
                    <a:pt x="249" y="129"/>
                  </a:cubicBezTo>
                  <a:cubicBezTo>
                    <a:pt x="223" y="145"/>
                    <a:pt x="200" y="164"/>
                    <a:pt x="179" y="185"/>
                  </a:cubicBezTo>
                  <a:cubicBezTo>
                    <a:pt x="164" y="174"/>
                    <a:pt x="150" y="163"/>
                    <a:pt x="136" y="152"/>
                  </a:cubicBezTo>
                  <a:cubicBezTo>
                    <a:pt x="129" y="147"/>
                    <a:pt x="121" y="147"/>
                    <a:pt x="116" y="153"/>
                  </a:cubicBezTo>
                  <a:cubicBezTo>
                    <a:pt x="103" y="169"/>
                    <a:pt x="90" y="185"/>
                    <a:pt x="78" y="201"/>
                  </a:cubicBezTo>
                  <a:cubicBezTo>
                    <a:pt x="73" y="207"/>
                    <a:pt x="75" y="215"/>
                    <a:pt x="81" y="220"/>
                  </a:cubicBezTo>
                  <a:cubicBezTo>
                    <a:pt x="94" y="230"/>
                    <a:pt x="107" y="240"/>
                    <a:pt x="119" y="251"/>
                  </a:cubicBezTo>
                  <a:lnTo>
                    <a:pt x="123" y="254"/>
                  </a:lnTo>
                  <a:cubicBezTo>
                    <a:pt x="116" y="268"/>
                    <a:pt x="108" y="281"/>
                    <a:pt x="102" y="294"/>
                  </a:cubicBezTo>
                  <a:cubicBezTo>
                    <a:pt x="95" y="308"/>
                    <a:pt x="90" y="321"/>
                    <a:pt x="84" y="335"/>
                  </a:cubicBezTo>
                  <a:lnTo>
                    <a:pt x="80" y="335"/>
                  </a:lnTo>
                  <a:cubicBezTo>
                    <a:pt x="72" y="333"/>
                    <a:pt x="64" y="331"/>
                    <a:pt x="56" y="329"/>
                  </a:cubicBezTo>
                  <a:cubicBezTo>
                    <a:pt x="52" y="329"/>
                    <a:pt x="48" y="328"/>
                    <a:pt x="44" y="327"/>
                  </a:cubicBezTo>
                  <a:cubicBezTo>
                    <a:pt x="40" y="326"/>
                    <a:pt x="36" y="325"/>
                    <a:pt x="31" y="324"/>
                  </a:cubicBezTo>
                  <a:cubicBezTo>
                    <a:pt x="22" y="322"/>
                    <a:pt x="16" y="326"/>
                    <a:pt x="13" y="335"/>
                  </a:cubicBezTo>
                  <a:cubicBezTo>
                    <a:pt x="11" y="342"/>
                    <a:pt x="9" y="348"/>
                    <a:pt x="8" y="355"/>
                  </a:cubicBezTo>
                  <a:cubicBezTo>
                    <a:pt x="5" y="367"/>
                    <a:pt x="3" y="380"/>
                    <a:pt x="0" y="392"/>
                  </a:cubicBezTo>
                  <a:lnTo>
                    <a:pt x="0" y="398"/>
                  </a:lnTo>
                  <a:cubicBezTo>
                    <a:pt x="2" y="405"/>
                    <a:pt x="7" y="409"/>
                    <a:pt x="14" y="410"/>
                  </a:cubicBezTo>
                  <a:cubicBezTo>
                    <a:pt x="24" y="412"/>
                    <a:pt x="33" y="414"/>
                    <a:pt x="42" y="416"/>
                  </a:cubicBezTo>
                  <a:cubicBezTo>
                    <a:pt x="50" y="418"/>
                    <a:pt x="57" y="420"/>
                    <a:pt x="63" y="421"/>
                  </a:cubicBezTo>
                  <a:lnTo>
                    <a:pt x="63" y="512"/>
                  </a:lnTo>
                  <a:cubicBezTo>
                    <a:pt x="63" y="512"/>
                    <a:pt x="61" y="513"/>
                    <a:pt x="60" y="513"/>
                  </a:cubicBezTo>
                  <a:cubicBezTo>
                    <a:pt x="45" y="517"/>
                    <a:pt x="30" y="521"/>
                    <a:pt x="15" y="524"/>
                  </a:cubicBezTo>
                  <a:cubicBezTo>
                    <a:pt x="8" y="525"/>
                    <a:pt x="2" y="528"/>
                    <a:pt x="0" y="535"/>
                  </a:cubicBezTo>
                  <a:lnTo>
                    <a:pt x="0" y="542"/>
                  </a:lnTo>
                  <a:lnTo>
                    <a:pt x="1" y="545"/>
                  </a:lnTo>
                  <a:cubicBezTo>
                    <a:pt x="5" y="563"/>
                    <a:pt x="9" y="580"/>
                    <a:pt x="13" y="598"/>
                  </a:cubicBezTo>
                  <a:cubicBezTo>
                    <a:pt x="16" y="608"/>
                    <a:pt x="22" y="611"/>
                    <a:pt x="32" y="609"/>
                  </a:cubicBezTo>
                  <a:lnTo>
                    <a:pt x="51" y="605"/>
                  </a:lnTo>
                  <a:cubicBezTo>
                    <a:pt x="62" y="603"/>
                    <a:pt x="73" y="600"/>
                    <a:pt x="84" y="598"/>
                  </a:cubicBezTo>
                  <a:cubicBezTo>
                    <a:pt x="94" y="627"/>
                    <a:pt x="108" y="654"/>
                    <a:pt x="124" y="679"/>
                  </a:cubicBezTo>
                  <a:cubicBezTo>
                    <a:pt x="109" y="691"/>
                    <a:pt x="95" y="702"/>
                    <a:pt x="81" y="714"/>
                  </a:cubicBezTo>
                  <a:cubicBezTo>
                    <a:pt x="75" y="719"/>
                    <a:pt x="73" y="726"/>
                    <a:pt x="78" y="733"/>
                  </a:cubicBezTo>
                  <a:cubicBezTo>
                    <a:pt x="80" y="736"/>
                    <a:pt x="82" y="739"/>
                    <a:pt x="84" y="742"/>
                  </a:cubicBezTo>
                  <a:cubicBezTo>
                    <a:pt x="94" y="754"/>
                    <a:pt x="104" y="767"/>
                    <a:pt x="114" y="779"/>
                  </a:cubicBezTo>
                  <a:cubicBezTo>
                    <a:pt x="121" y="787"/>
                    <a:pt x="128" y="787"/>
                    <a:pt x="136" y="781"/>
                  </a:cubicBezTo>
                  <a:cubicBezTo>
                    <a:pt x="141" y="777"/>
                    <a:pt x="146" y="774"/>
                    <a:pt x="151" y="770"/>
                  </a:cubicBezTo>
                  <a:cubicBezTo>
                    <a:pt x="160" y="763"/>
                    <a:pt x="169" y="755"/>
                    <a:pt x="178" y="749"/>
                  </a:cubicBezTo>
                  <a:cubicBezTo>
                    <a:pt x="190" y="759"/>
                    <a:pt x="201" y="769"/>
                    <a:pt x="212" y="778"/>
                  </a:cubicBezTo>
                  <a:cubicBezTo>
                    <a:pt x="224" y="787"/>
                    <a:pt x="236" y="796"/>
                    <a:pt x="249" y="805"/>
                  </a:cubicBezTo>
                  <a:lnTo>
                    <a:pt x="247" y="808"/>
                  </a:lnTo>
                  <a:cubicBezTo>
                    <a:pt x="240" y="823"/>
                    <a:pt x="233" y="839"/>
                    <a:pt x="226" y="854"/>
                  </a:cubicBezTo>
                  <a:cubicBezTo>
                    <a:pt x="222" y="861"/>
                    <a:pt x="224" y="869"/>
                    <a:pt x="231" y="873"/>
                  </a:cubicBezTo>
                  <a:cubicBezTo>
                    <a:pt x="249" y="882"/>
                    <a:pt x="267" y="891"/>
                    <a:pt x="286" y="899"/>
                  </a:cubicBezTo>
                  <a:cubicBezTo>
                    <a:pt x="294" y="903"/>
                    <a:pt x="301" y="899"/>
                    <a:pt x="305" y="892"/>
                  </a:cubicBezTo>
                  <a:cubicBezTo>
                    <a:pt x="309" y="883"/>
                    <a:pt x="313" y="874"/>
                    <a:pt x="318" y="865"/>
                  </a:cubicBezTo>
                  <a:cubicBezTo>
                    <a:pt x="321" y="858"/>
                    <a:pt x="325" y="850"/>
                    <a:pt x="329" y="843"/>
                  </a:cubicBezTo>
                  <a:cubicBezTo>
                    <a:pt x="357" y="853"/>
                    <a:pt x="387" y="859"/>
                    <a:pt x="417" y="863"/>
                  </a:cubicBezTo>
                  <a:lnTo>
                    <a:pt x="417" y="916"/>
                  </a:lnTo>
                  <a:cubicBezTo>
                    <a:pt x="417" y="926"/>
                    <a:pt x="421" y="932"/>
                    <a:pt x="431" y="932"/>
                  </a:cubicBezTo>
                  <a:cubicBezTo>
                    <a:pt x="451" y="933"/>
                    <a:pt x="471" y="932"/>
                    <a:pt x="491" y="932"/>
                  </a:cubicBezTo>
                  <a:cubicBezTo>
                    <a:pt x="500" y="932"/>
                    <a:pt x="504" y="926"/>
                    <a:pt x="504" y="917"/>
                  </a:cubicBezTo>
                  <a:cubicBezTo>
                    <a:pt x="504" y="900"/>
                    <a:pt x="504" y="884"/>
                    <a:pt x="505" y="867"/>
                  </a:cubicBezTo>
                  <a:cubicBezTo>
                    <a:pt x="505" y="866"/>
                    <a:pt x="505" y="864"/>
                    <a:pt x="505" y="863"/>
                  </a:cubicBezTo>
                  <a:cubicBezTo>
                    <a:pt x="526" y="860"/>
                    <a:pt x="547" y="856"/>
                    <a:pt x="567" y="851"/>
                  </a:cubicBezTo>
                  <a:cubicBezTo>
                    <a:pt x="570" y="850"/>
                    <a:pt x="572" y="849"/>
                    <a:pt x="575" y="848"/>
                  </a:cubicBezTo>
                  <a:cubicBezTo>
                    <a:pt x="581" y="847"/>
                    <a:pt x="587" y="845"/>
                    <a:pt x="593" y="843"/>
                  </a:cubicBezTo>
                  <a:lnTo>
                    <a:pt x="595" y="846"/>
                  </a:lnTo>
                  <a:cubicBezTo>
                    <a:pt x="602" y="861"/>
                    <a:pt x="609" y="876"/>
                    <a:pt x="616" y="890"/>
                  </a:cubicBezTo>
                  <a:cubicBezTo>
                    <a:pt x="621" y="900"/>
                    <a:pt x="627" y="903"/>
                    <a:pt x="637" y="898"/>
                  </a:cubicBezTo>
                  <a:cubicBezTo>
                    <a:pt x="646" y="895"/>
                    <a:pt x="655" y="891"/>
                    <a:pt x="663" y="887"/>
                  </a:cubicBezTo>
                  <a:cubicBezTo>
                    <a:pt x="672" y="883"/>
                    <a:pt x="680" y="878"/>
                    <a:pt x="689" y="873"/>
                  </a:cubicBezTo>
                  <a:cubicBezTo>
                    <a:pt x="697" y="869"/>
                    <a:pt x="699" y="862"/>
                    <a:pt x="695" y="853"/>
                  </a:cubicBezTo>
                  <a:cubicBezTo>
                    <a:pt x="693" y="849"/>
                    <a:pt x="692" y="846"/>
                    <a:pt x="690" y="842"/>
                  </a:cubicBezTo>
                  <a:cubicBezTo>
                    <a:pt x="684" y="829"/>
                    <a:pt x="678" y="817"/>
                    <a:pt x="672" y="805"/>
                  </a:cubicBezTo>
                  <a:cubicBezTo>
                    <a:pt x="685" y="796"/>
                    <a:pt x="697" y="787"/>
                    <a:pt x="709" y="778"/>
                  </a:cubicBezTo>
                  <a:cubicBezTo>
                    <a:pt x="721" y="769"/>
                    <a:pt x="732" y="759"/>
                    <a:pt x="743" y="749"/>
                  </a:cubicBezTo>
                  <a:lnTo>
                    <a:pt x="747" y="752"/>
                  </a:lnTo>
                  <a:cubicBezTo>
                    <a:pt x="760" y="762"/>
                    <a:pt x="773" y="772"/>
                    <a:pt x="785" y="782"/>
                  </a:cubicBezTo>
                  <a:cubicBezTo>
                    <a:pt x="793" y="787"/>
                    <a:pt x="800" y="787"/>
                    <a:pt x="806" y="780"/>
                  </a:cubicBezTo>
                  <a:cubicBezTo>
                    <a:pt x="819" y="765"/>
                    <a:pt x="831" y="749"/>
                    <a:pt x="843" y="733"/>
                  </a:cubicBezTo>
                  <a:cubicBezTo>
                    <a:pt x="848" y="726"/>
                    <a:pt x="847" y="719"/>
                    <a:pt x="840" y="714"/>
                  </a:cubicBezTo>
                  <a:cubicBezTo>
                    <a:pt x="827" y="703"/>
                    <a:pt x="814" y="693"/>
                    <a:pt x="801" y="682"/>
                  </a:cubicBezTo>
                  <a:lnTo>
                    <a:pt x="798" y="679"/>
                  </a:lnTo>
                  <a:cubicBezTo>
                    <a:pt x="802" y="673"/>
                    <a:pt x="806" y="666"/>
                    <a:pt x="809" y="660"/>
                  </a:cubicBezTo>
                  <a:cubicBezTo>
                    <a:pt x="813" y="653"/>
                    <a:pt x="816" y="646"/>
                    <a:pt x="820" y="639"/>
                  </a:cubicBezTo>
                  <a:cubicBezTo>
                    <a:pt x="826" y="627"/>
                    <a:pt x="831" y="613"/>
                    <a:pt x="836" y="600"/>
                  </a:cubicBezTo>
                  <a:lnTo>
                    <a:pt x="837" y="598"/>
                  </a:lnTo>
                  <a:cubicBezTo>
                    <a:pt x="855" y="602"/>
                    <a:pt x="873" y="606"/>
                    <a:pt x="890" y="610"/>
                  </a:cubicBezTo>
                  <a:cubicBezTo>
                    <a:pt x="899" y="611"/>
                    <a:pt x="905" y="608"/>
                    <a:pt x="908" y="599"/>
                  </a:cubicBezTo>
                  <a:cubicBezTo>
                    <a:pt x="910" y="593"/>
                    <a:pt x="912" y="586"/>
                    <a:pt x="913" y="580"/>
                  </a:cubicBezTo>
                  <a:cubicBezTo>
                    <a:pt x="916" y="568"/>
                    <a:pt x="919" y="555"/>
                    <a:pt x="921" y="543"/>
                  </a:cubicBezTo>
                  <a:lnTo>
                    <a:pt x="921" y="534"/>
                  </a:lnTo>
                  <a:cubicBezTo>
                    <a:pt x="918" y="528"/>
                    <a:pt x="913" y="525"/>
                    <a:pt x="907" y="524"/>
                  </a:cubicBezTo>
                  <a:cubicBezTo>
                    <a:pt x="896" y="522"/>
                    <a:pt x="886" y="519"/>
                    <a:pt x="875" y="516"/>
                  </a:cubicBezTo>
                  <a:cubicBezTo>
                    <a:pt x="869" y="515"/>
                    <a:pt x="863" y="513"/>
                    <a:pt x="857" y="512"/>
                  </a:cubicBezTo>
                  <a:cubicBezTo>
                    <a:pt x="858" y="496"/>
                    <a:pt x="859" y="481"/>
                    <a:pt x="859" y="466"/>
                  </a:cubicBezTo>
                  <a:cubicBezTo>
                    <a:pt x="859" y="452"/>
                    <a:pt x="858" y="437"/>
                    <a:pt x="857" y="422"/>
                  </a:cubicBezTo>
                  <a:cubicBezTo>
                    <a:pt x="874" y="418"/>
                    <a:pt x="890" y="414"/>
                    <a:pt x="907" y="410"/>
                  </a:cubicBezTo>
                  <a:cubicBezTo>
                    <a:pt x="914" y="408"/>
                    <a:pt x="919" y="406"/>
                    <a:pt x="921" y="399"/>
                  </a:cubicBez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2">
              <a:extLst>
                <a:ext uri="{FF2B5EF4-FFF2-40B4-BE49-F238E27FC236}">
                  <a16:creationId xmlns:a16="http://schemas.microsoft.com/office/drawing/2014/main" id="{3CFBC051-D040-107D-508B-DBFCAFEC4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40525" y="2974975"/>
              <a:ext cx="363538" cy="393700"/>
            </a:xfrm>
            <a:custGeom>
              <a:avLst/>
              <a:gdLst>
                <a:gd name="T0" fmla="*/ 290 w 804"/>
                <a:gd name="T1" fmla="*/ 427 h 864"/>
                <a:gd name="T2" fmla="*/ 417 w 804"/>
                <a:gd name="T3" fmla="*/ 301 h 864"/>
                <a:gd name="T4" fmla="*/ 543 w 804"/>
                <a:gd name="T5" fmla="*/ 427 h 864"/>
                <a:gd name="T6" fmla="*/ 417 w 804"/>
                <a:gd name="T7" fmla="*/ 553 h 864"/>
                <a:gd name="T8" fmla="*/ 290 w 804"/>
                <a:gd name="T9" fmla="*/ 427 h 864"/>
                <a:gd name="T10" fmla="*/ 796 w 804"/>
                <a:gd name="T11" fmla="*/ 675 h 864"/>
                <a:gd name="T12" fmla="*/ 757 w 804"/>
                <a:gd name="T13" fmla="*/ 643 h 864"/>
                <a:gd name="T14" fmla="*/ 754 w 804"/>
                <a:gd name="T15" fmla="*/ 640 h 864"/>
                <a:gd name="T16" fmla="*/ 765 w 804"/>
                <a:gd name="T17" fmla="*/ 621 h 864"/>
                <a:gd name="T18" fmla="*/ 776 w 804"/>
                <a:gd name="T19" fmla="*/ 600 h 864"/>
                <a:gd name="T20" fmla="*/ 792 w 804"/>
                <a:gd name="T21" fmla="*/ 561 h 864"/>
                <a:gd name="T22" fmla="*/ 701 w 804"/>
                <a:gd name="T23" fmla="*/ 470 h 864"/>
                <a:gd name="T24" fmla="*/ 671 w 804"/>
                <a:gd name="T25" fmla="*/ 439 h 864"/>
                <a:gd name="T26" fmla="*/ 405 w 804"/>
                <a:gd name="T27" fmla="*/ 173 h 864"/>
                <a:gd name="T28" fmla="*/ 232 w 804"/>
                <a:gd name="T29" fmla="*/ 0 h 864"/>
                <a:gd name="T30" fmla="*/ 188 w 804"/>
                <a:gd name="T31" fmla="*/ 22 h 864"/>
                <a:gd name="T32" fmla="*/ 182 w 804"/>
                <a:gd name="T33" fmla="*/ 41 h 864"/>
                <a:gd name="T34" fmla="*/ 200 w 804"/>
                <a:gd name="T35" fmla="*/ 79 h 864"/>
                <a:gd name="T36" fmla="*/ 205 w 804"/>
                <a:gd name="T37" fmla="*/ 90 h 864"/>
                <a:gd name="T38" fmla="*/ 135 w 804"/>
                <a:gd name="T39" fmla="*/ 146 h 864"/>
                <a:gd name="T40" fmla="*/ 92 w 804"/>
                <a:gd name="T41" fmla="*/ 113 h 864"/>
                <a:gd name="T42" fmla="*/ 72 w 804"/>
                <a:gd name="T43" fmla="*/ 114 h 864"/>
                <a:gd name="T44" fmla="*/ 34 w 804"/>
                <a:gd name="T45" fmla="*/ 162 h 864"/>
                <a:gd name="T46" fmla="*/ 37 w 804"/>
                <a:gd name="T47" fmla="*/ 181 h 864"/>
                <a:gd name="T48" fmla="*/ 75 w 804"/>
                <a:gd name="T49" fmla="*/ 212 h 864"/>
                <a:gd name="T50" fmla="*/ 79 w 804"/>
                <a:gd name="T51" fmla="*/ 215 h 864"/>
                <a:gd name="T52" fmla="*/ 58 w 804"/>
                <a:gd name="T53" fmla="*/ 255 h 864"/>
                <a:gd name="T54" fmla="*/ 40 w 804"/>
                <a:gd name="T55" fmla="*/ 296 h 864"/>
                <a:gd name="T56" fmla="*/ 36 w 804"/>
                <a:gd name="T57" fmla="*/ 296 h 864"/>
                <a:gd name="T58" fmla="*/ 12 w 804"/>
                <a:gd name="T59" fmla="*/ 290 h 864"/>
                <a:gd name="T60" fmla="*/ 0 w 804"/>
                <a:gd name="T61" fmla="*/ 288 h 864"/>
                <a:gd name="T62" fmla="*/ 0 w 804"/>
                <a:gd name="T63" fmla="*/ 288 h 864"/>
                <a:gd name="T64" fmla="*/ 129 w 804"/>
                <a:gd name="T65" fmla="*/ 417 h 864"/>
                <a:gd name="T66" fmla="*/ 163 w 804"/>
                <a:gd name="T67" fmla="*/ 451 h 864"/>
                <a:gd name="T68" fmla="*/ 392 w 804"/>
                <a:gd name="T69" fmla="*/ 681 h 864"/>
                <a:gd name="T70" fmla="*/ 523 w 804"/>
                <a:gd name="T71" fmla="*/ 812 h 864"/>
                <a:gd name="T72" fmla="*/ 531 w 804"/>
                <a:gd name="T73" fmla="*/ 809 h 864"/>
                <a:gd name="T74" fmla="*/ 549 w 804"/>
                <a:gd name="T75" fmla="*/ 804 h 864"/>
                <a:gd name="T76" fmla="*/ 551 w 804"/>
                <a:gd name="T77" fmla="*/ 807 h 864"/>
                <a:gd name="T78" fmla="*/ 572 w 804"/>
                <a:gd name="T79" fmla="*/ 851 h 864"/>
                <a:gd name="T80" fmla="*/ 593 w 804"/>
                <a:gd name="T81" fmla="*/ 859 h 864"/>
                <a:gd name="T82" fmla="*/ 619 w 804"/>
                <a:gd name="T83" fmla="*/ 848 h 864"/>
                <a:gd name="T84" fmla="*/ 645 w 804"/>
                <a:gd name="T85" fmla="*/ 834 h 864"/>
                <a:gd name="T86" fmla="*/ 651 w 804"/>
                <a:gd name="T87" fmla="*/ 814 h 864"/>
                <a:gd name="T88" fmla="*/ 646 w 804"/>
                <a:gd name="T89" fmla="*/ 803 h 864"/>
                <a:gd name="T90" fmla="*/ 628 w 804"/>
                <a:gd name="T91" fmla="*/ 766 h 864"/>
                <a:gd name="T92" fmla="*/ 665 w 804"/>
                <a:gd name="T93" fmla="*/ 739 h 864"/>
                <a:gd name="T94" fmla="*/ 699 w 804"/>
                <a:gd name="T95" fmla="*/ 710 h 864"/>
                <a:gd name="T96" fmla="*/ 703 w 804"/>
                <a:gd name="T97" fmla="*/ 713 h 864"/>
                <a:gd name="T98" fmla="*/ 741 w 804"/>
                <a:gd name="T99" fmla="*/ 743 h 864"/>
                <a:gd name="T100" fmla="*/ 762 w 804"/>
                <a:gd name="T101" fmla="*/ 741 h 864"/>
                <a:gd name="T102" fmla="*/ 799 w 804"/>
                <a:gd name="T103" fmla="*/ 694 h 864"/>
                <a:gd name="T104" fmla="*/ 796 w 804"/>
                <a:gd name="T105" fmla="*/ 675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4" h="864">
                  <a:moveTo>
                    <a:pt x="290" y="427"/>
                  </a:moveTo>
                  <a:cubicBezTo>
                    <a:pt x="290" y="358"/>
                    <a:pt x="347" y="301"/>
                    <a:pt x="417" y="301"/>
                  </a:cubicBezTo>
                  <a:cubicBezTo>
                    <a:pt x="486" y="301"/>
                    <a:pt x="543" y="358"/>
                    <a:pt x="543" y="427"/>
                  </a:cubicBezTo>
                  <a:cubicBezTo>
                    <a:pt x="543" y="497"/>
                    <a:pt x="486" y="553"/>
                    <a:pt x="417" y="553"/>
                  </a:cubicBezTo>
                  <a:cubicBezTo>
                    <a:pt x="347" y="553"/>
                    <a:pt x="290" y="497"/>
                    <a:pt x="290" y="427"/>
                  </a:cubicBezTo>
                  <a:close/>
                  <a:moveTo>
                    <a:pt x="796" y="675"/>
                  </a:moveTo>
                  <a:cubicBezTo>
                    <a:pt x="783" y="664"/>
                    <a:pt x="770" y="654"/>
                    <a:pt x="757" y="643"/>
                  </a:cubicBezTo>
                  <a:lnTo>
                    <a:pt x="754" y="640"/>
                  </a:lnTo>
                  <a:cubicBezTo>
                    <a:pt x="758" y="634"/>
                    <a:pt x="762" y="627"/>
                    <a:pt x="765" y="621"/>
                  </a:cubicBezTo>
                  <a:cubicBezTo>
                    <a:pt x="769" y="614"/>
                    <a:pt x="772" y="607"/>
                    <a:pt x="776" y="600"/>
                  </a:cubicBezTo>
                  <a:cubicBezTo>
                    <a:pt x="782" y="588"/>
                    <a:pt x="787" y="574"/>
                    <a:pt x="792" y="561"/>
                  </a:cubicBezTo>
                  <a:lnTo>
                    <a:pt x="701" y="470"/>
                  </a:lnTo>
                  <a:lnTo>
                    <a:pt x="671" y="439"/>
                  </a:lnTo>
                  <a:lnTo>
                    <a:pt x="405" y="173"/>
                  </a:lnTo>
                  <a:lnTo>
                    <a:pt x="232" y="0"/>
                  </a:lnTo>
                  <a:cubicBezTo>
                    <a:pt x="217" y="7"/>
                    <a:pt x="202" y="14"/>
                    <a:pt x="188" y="22"/>
                  </a:cubicBezTo>
                  <a:cubicBezTo>
                    <a:pt x="180" y="26"/>
                    <a:pt x="178" y="33"/>
                    <a:pt x="182" y="41"/>
                  </a:cubicBezTo>
                  <a:cubicBezTo>
                    <a:pt x="188" y="54"/>
                    <a:pt x="194" y="67"/>
                    <a:pt x="200" y="79"/>
                  </a:cubicBezTo>
                  <a:cubicBezTo>
                    <a:pt x="202" y="83"/>
                    <a:pt x="203" y="86"/>
                    <a:pt x="205" y="90"/>
                  </a:cubicBezTo>
                  <a:cubicBezTo>
                    <a:pt x="179" y="106"/>
                    <a:pt x="156" y="125"/>
                    <a:pt x="135" y="146"/>
                  </a:cubicBezTo>
                  <a:cubicBezTo>
                    <a:pt x="120" y="135"/>
                    <a:pt x="106" y="124"/>
                    <a:pt x="92" y="113"/>
                  </a:cubicBezTo>
                  <a:cubicBezTo>
                    <a:pt x="85" y="108"/>
                    <a:pt x="77" y="108"/>
                    <a:pt x="72" y="114"/>
                  </a:cubicBezTo>
                  <a:cubicBezTo>
                    <a:pt x="59" y="130"/>
                    <a:pt x="46" y="146"/>
                    <a:pt x="34" y="162"/>
                  </a:cubicBezTo>
                  <a:cubicBezTo>
                    <a:pt x="29" y="168"/>
                    <a:pt x="31" y="176"/>
                    <a:pt x="37" y="181"/>
                  </a:cubicBezTo>
                  <a:cubicBezTo>
                    <a:pt x="50" y="191"/>
                    <a:pt x="63" y="201"/>
                    <a:pt x="75" y="212"/>
                  </a:cubicBezTo>
                  <a:lnTo>
                    <a:pt x="79" y="215"/>
                  </a:lnTo>
                  <a:cubicBezTo>
                    <a:pt x="72" y="229"/>
                    <a:pt x="64" y="242"/>
                    <a:pt x="58" y="255"/>
                  </a:cubicBezTo>
                  <a:cubicBezTo>
                    <a:pt x="51" y="269"/>
                    <a:pt x="46" y="282"/>
                    <a:pt x="40" y="296"/>
                  </a:cubicBezTo>
                  <a:lnTo>
                    <a:pt x="36" y="296"/>
                  </a:lnTo>
                  <a:cubicBezTo>
                    <a:pt x="28" y="294"/>
                    <a:pt x="20" y="292"/>
                    <a:pt x="12" y="290"/>
                  </a:cubicBezTo>
                  <a:cubicBezTo>
                    <a:pt x="8" y="290"/>
                    <a:pt x="4" y="289"/>
                    <a:pt x="0" y="288"/>
                  </a:cubicBezTo>
                  <a:lnTo>
                    <a:pt x="0" y="288"/>
                  </a:lnTo>
                  <a:lnTo>
                    <a:pt x="129" y="417"/>
                  </a:lnTo>
                  <a:lnTo>
                    <a:pt x="163" y="451"/>
                  </a:lnTo>
                  <a:lnTo>
                    <a:pt x="392" y="681"/>
                  </a:lnTo>
                  <a:lnTo>
                    <a:pt x="523" y="812"/>
                  </a:lnTo>
                  <a:cubicBezTo>
                    <a:pt x="526" y="811"/>
                    <a:pt x="528" y="810"/>
                    <a:pt x="531" y="809"/>
                  </a:cubicBezTo>
                  <a:cubicBezTo>
                    <a:pt x="537" y="808"/>
                    <a:pt x="543" y="806"/>
                    <a:pt x="549" y="804"/>
                  </a:cubicBezTo>
                  <a:lnTo>
                    <a:pt x="551" y="807"/>
                  </a:lnTo>
                  <a:cubicBezTo>
                    <a:pt x="558" y="822"/>
                    <a:pt x="565" y="837"/>
                    <a:pt x="572" y="851"/>
                  </a:cubicBezTo>
                  <a:cubicBezTo>
                    <a:pt x="577" y="861"/>
                    <a:pt x="583" y="864"/>
                    <a:pt x="593" y="859"/>
                  </a:cubicBezTo>
                  <a:cubicBezTo>
                    <a:pt x="602" y="856"/>
                    <a:pt x="611" y="852"/>
                    <a:pt x="619" y="848"/>
                  </a:cubicBezTo>
                  <a:cubicBezTo>
                    <a:pt x="628" y="844"/>
                    <a:pt x="636" y="839"/>
                    <a:pt x="645" y="834"/>
                  </a:cubicBezTo>
                  <a:cubicBezTo>
                    <a:pt x="653" y="830"/>
                    <a:pt x="655" y="823"/>
                    <a:pt x="651" y="814"/>
                  </a:cubicBezTo>
                  <a:cubicBezTo>
                    <a:pt x="649" y="810"/>
                    <a:pt x="648" y="807"/>
                    <a:pt x="646" y="803"/>
                  </a:cubicBezTo>
                  <a:cubicBezTo>
                    <a:pt x="640" y="790"/>
                    <a:pt x="634" y="778"/>
                    <a:pt x="628" y="766"/>
                  </a:cubicBezTo>
                  <a:cubicBezTo>
                    <a:pt x="641" y="757"/>
                    <a:pt x="653" y="748"/>
                    <a:pt x="665" y="739"/>
                  </a:cubicBezTo>
                  <a:cubicBezTo>
                    <a:pt x="677" y="730"/>
                    <a:pt x="688" y="720"/>
                    <a:pt x="699" y="710"/>
                  </a:cubicBezTo>
                  <a:lnTo>
                    <a:pt x="703" y="713"/>
                  </a:lnTo>
                  <a:cubicBezTo>
                    <a:pt x="716" y="723"/>
                    <a:pt x="729" y="733"/>
                    <a:pt x="741" y="743"/>
                  </a:cubicBezTo>
                  <a:cubicBezTo>
                    <a:pt x="749" y="748"/>
                    <a:pt x="756" y="748"/>
                    <a:pt x="762" y="741"/>
                  </a:cubicBezTo>
                  <a:cubicBezTo>
                    <a:pt x="775" y="726"/>
                    <a:pt x="787" y="710"/>
                    <a:pt x="799" y="694"/>
                  </a:cubicBezTo>
                  <a:cubicBezTo>
                    <a:pt x="804" y="687"/>
                    <a:pt x="803" y="680"/>
                    <a:pt x="796" y="675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3">
              <a:extLst>
                <a:ext uri="{FF2B5EF4-FFF2-40B4-BE49-F238E27FC236}">
                  <a16:creationId xmlns:a16="http://schemas.microsoft.com/office/drawing/2014/main" id="{48A7C090-DBCE-5549-2CBF-28DC275F4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681788" y="3038475"/>
              <a:ext cx="260350" cy="261938"/>
            </a:xfrm>
            <a:custGeom>
              <a:avLst/>
              <a:gdLst>
                <a:gd name="T0" fmla="*/ 288 w 575"/>
                <a:gd name="T1" fmla="*/ 542 h 575"/>
                <a:gd name="T2" fmla="*/ 263 w 575"/>
                <a:gd name="T3" fmla="*/ 541 h 575"/>
                <a:gd name="T4" fmla="*/ 34 w 575"/>
                <a:gd name="T5" fmla="*/ 311 h 575"/>
                <a:gd name="T6" fmla="*/ 33 w 575"/>
                <a:gd name="T7" fmla="*/ 287 h 575"/>
                <a:gd name="T8" fmla="*/ 276 w 575"/>
                <a:gd name="T9" fmla="*/ 33 h 575"/>
                <a:gd name="T10" fmla="*/ 288 w 575"/>
                <a:gd name="T11" fmla="*/ 33 h 575"/>
                <a:gd name="T12" fmla="*/ 542 w 575"/>
                <a:gd name="T13" fmla="*/ 287 h 575"/>
                <a:gd name="T14" fmla="*/ 542 w 575"/>
                <a:gd name="T15" fmla="*/ 299 h 575"/>
                <a:gd name="T16" fmla="*/ 288 w 575"/>
                <a:gd name="T17" fmla="*/ 542 h 575"/>
                <a:gd name="T18" fmla="*/ 288 w 575"/>
                <a:gd name="T19" fmla="*/ 0 h 575"/>
                <a:gd name="T20" fmla="*/ 245 w 575"/>
                <a:gd name="T21" fmla="*/ 3 h 575"/>
                <a:gd name="T22" fmla="*/ 0 w 575"/>
                <a:gd name="T23" fmla="*/ 277 h 575"/>
                <a:gd name="T24" fmla="*/ 0 w 575"/>
                <a:gd name="T25" fmla="*/ 287 h 575"/>
                <a:gd name="T26" fmla="*/ 288 w 575"/>
                <a:gd name="T27" fmla="*/ 575 h 575"/>
                <a:gd name="T28" fmla="*/ 298 w 575"/>
                <a:gd name="T29" fmla="*/ 575 h 575"/>
                <a:gd name="T30" fmla="*/ 572 w 575"/>
                <a:gd name="T31" fmla="*/ 330 h 575"/>
                <a:gd name="T32" fmla="*/ 575 w 575"/>
                <a:gd name="T33" fmla="*/ 287 h 575"/>
                <a:gd name="T34" fmla="*/ 288 w 575"/>
                <a:gd name="T35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5" h="575">
                  <a:moveTo>
                    <a:pt x="288" y="542"/>
                  </a:moveTo>
                  <a:cubicBezTo>
                    <a:pt x="279" y="542"/>
                    <a:pt x="271" y="542"/>
                    <a:pt x="263" y="541"/>
                  </a:cubicBezTo>
                  <a:cubicBezTo>
                    <a:pt x="142" y="529"/>
                    <a:pt x="46" y="433"/>
                    <a:pt x="34" y="311"/>
                  </a:cubicBezTo>
                  <a:cubicBezTo>
                    <a:pt x="33" y="304"/>
                    <a:pt x="33" y="296"/>
                    <a:pt x="33" y="287"/>
                  </a:cubicBezTo>
                  <a:cubicBezTo>
                    <a:pt x="33" y="151"/>
                    <a:pt x="141" y="39"/>
                    <a:pt x="276" y="33"/>
                  </a:cubicBezTo>
                  <a:cubicBezTo>
                    <a:pt x="280" y="33"/>
                    <a:pt x="284" y="33"/>
                    <a:pt x="288" y="33"/>
                  </a:cubicBezTo>
                  <a:cubicBezTo>
                    <a:pt x="428" y="33"/>
                    <a:pt x="542" y="147"/>
                    <a:pt x="542" y="287"/>
                  </a:cubicBezTo>
                  <a:cubicBezTo>
                    <a:pt x="542" y="291"/>
                    <a:pt x="542" y="295"/>
                    <a:pt x="542" y="299"/>
                  </a:cubicBezTo>
                  <a:cubicBezTo>
                    <a:pt x="536" y="434"/>
                    <a:pt x="424" y="542"/>
                    <a:pt x="288" y="542"/>
                  </a:cubicBezTo>
                  <a:close/>
                  <a:moveTo>
                    <a:pt x="288" y="0"/>
                  </a:moveTo>
                  <a:cubicBezTo>
                    <a:pt x="273" y="0"/>
                    <a:pt x="259" y="1"/>
                    <a:pt x="245" y="3"/>
                  </a:cubicBezTo>
                  <a:cubicBezTo>
                    <a:pt x="110" y="23"/>
                    <a:pt x="5" y="137"/>
                    <a:pt x="0" y="277"/>
                  </a:cubicBezTo>
                  <a:cubicBezTo>
                    <a:pt x="0" y="281"/>
                    <a:pt x="0" y="284"/>
                    <a:pt x="0" y="287"/>
                  </a:cubicBezTo>
                  <a:cubicBezTo>
                    <a:pt x="0" y="446"/>
                    <a:pt x="129" y="575"/>
                    <a:pt x="288" y="575"/>
                  </a:cubicBezTo>
                  <a:cubicBezTo>
                    <a:pt x="291" y="575"/>
                    <a:pt x="294" y="575"/>
                    <a:pt x="298" y="575"/>
                  </a:cubicBezTo>
                  <a:cubicBezTo>
                    <a:pt x="438" y="570"/>
                    <a:pt x="552" y="465"/>
                    <a:pt x="572" y="330"/>
                  </a:cubicBezTo>
                  <a:cubicBezTo>
                    <a:pt x="574" y="316"/>
                    <a:pt x="575" y="302"/>
                    <a:pt x="575" y="287"/>
                  </a:cubicBezTo>
                  <a:cubicBezTo>
                    <a:pt x="575" y="128"/>
                    <a:pt x="446" y="0"/>
                    <a:pt x="288" y="0"/>
                  </a:cubicBezTo>
                  <a:close/>
                </a:path>
              </a:pathLst>
            </a:custGeom>
            <a:solidFill>
              <a:srgbClr val="6E87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4">
              <a:extLst>
                <a:ext uri="{FF2B5EF4-FFF2-40B4-BE49-F238E27FC236}">
                  <a16:creationId xmlns:a16="http://schemas.microsoft.com/office/drawing/2014/main" id="{BA070E66-6599-6C1B-085E-D31E2436B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534150" y="2684462"/>
              <a:ext cx="325438" cy="331788"/>
            </a:xfrm>
            <a:custGeom>
              <a:avLst/>
              <a:gdLst>
                <a:gd name="T0" fmla="*/ 317 w 721"/>
                <a:gd name="T1" fmla="*/ 133 h 729"/>
                <a:gd name="T2" fmla="*/ 124 w 721"/>
                <a:gd name="T3" fmla="*/ 365 h 729"/>
                <a:gd name="T4" fmla="*/ 350 w 721"/>
                <a:gd name="T5" fmla="*/ 601 h 729"/>
                <a:gd name="T6" fmla="*/ 598 w 721"/>
                <a:gd name="T7" fmla="*/ 364 h 729"/>
                <a:gd name="T8" fmla="*/ 359 w 721"/>
                <a:gd name="T9" fmla="*/ 129 h 729"/>
                <a:gd name="T10" fmla="*/ 170 w 721"/>
                <a:gd name="T11" fmla="*/ 225 h 729"/>
                <a:gd name="T12" fmla="*/ 138 w 721"/>
                <a:gd name="T13" fmla="*/ 446 h 729"/>
                <a:gd name="T14" fmla="*/ 593 w 721"/>
                <a:gd name="T15" fmla="*/ 409 h 729"/>
                <a:gd name="T16" fmla="*/ 721 w 721"/>
                <a:gd name="T17" fmla="*/ 312 h 729"/>
                <a:gd name="T18" fmla="*/ 711 w 721"/>
                <a:gd name="T19" fmla="*/ 262 h 729"/>
                <a:gd name="T20" fmla="*/ 654 w 721"/>
                <a:gd name="T21" fmla="*/ 259 h 729"/>
                <a:gd name="T22" fmla="*/ 628 w 721"/>
                <a:gd name="T23" fmla="*/ 196 h 729"/>
                <a:gd name="T24" fmla="*/ 631 w 721"/>
                <a:gd name="T25" fmla="*/ 120 h 729"/>
                <a:gd name="T26" fmla="*/ 582 w 721"/>
                <a:gd name="T27" fmla="*/ 145 h 729"/>
                <a:gd name="T28" fmla="*/ 528 w 721"/>
                <a:gd name="T29" fmla="*/ 98 h 729"/>
                <a:gd name="T30" fmla="*/ 517 w 721"/>
                <a:gd name="T31" fmla="*/ 35 h 729"/>
                <a:gd name="T32" fmla="*/ 466 w 721"/>
                <a:gd name="T33" fmla="*/ 67 h 729"/>
                <a:gd name="T34" fmla="*/ 395 w 721"/>
                <a:gd name="T35" fmla="*/ 52 h 729"/>
                <a:gd name="T36" fmla="*/ 377 w 721"/>
                <a:gd name="T37" fmla="*/ 0 h 729"/>
                <a:gd name="T38" fmla="*/ 327 w 721"/>
                <a:gd name="T39" fmla="*/ 13 h 729"/>
                <a:gd name="T40" fmla="*/ 261 w 721"/>
                <a:gd name="T41" fmla="*/ 70 h 729"/>
                <a:gd name="T42" fmla="*/ 224 w 721"/>
                <a:gd name="T43" fmla="*/ 27 h 729"/>
                <a:gd name="T44" fmla="*/ 177 w 721"/>
                <a:gd name="T45" fmla="*/ 63 h 729"/>
                <a:gd name="T46" fmla="*/ 140 w 721"/>
                <a:gd name="T47" fmla="*/ 145 h 729"/>
                <a:gd name="T48" fmla="*/ 61 w 721"/>
                <a:gd name="T49" fmla="*/ 157 h 729"/>
                <a:gd name="T50" fmla="*/ 97 w 721"/>
                <a:gd name="T51" fmla="*/ 199 h 729"/>
                <a:gd name="T52" fmla="*/ 74 w 721"/>
                <a:gd name="T53" fmla="*/ 243 h 729"/>
                <a:gd name="T54" fmla="*/ 63 w 721"/>
                <a:gd name="T55" fmla="*/ 262 h 729"/>
                <a:gd name="T56" fmla="*/ 11 w 721"/>
                <a:gd name="T57" fmla="*/ 262 h 729"/>
                <a:gd name="T58" fmla="*/ 0 w 721"/>
                <a:gd name="T59" fmla="*/ 311 h 729"/>
                <a:gd name="T60" fmla="*/ 50 w 721"/>
                <a:gd name="T61" fmla="*/ 330 h 729"/>
                <a:gd name="T62" fmla="*/ 12 w 721"/>
                <a:gd name="T63" fmla="*/ 410 h 729"/>
                <a:gd name="T64" fmla="*/ 1 w 721"/>
                <a:gd name="T65" fmla="*/ 427 h 729"/>
                <a:gd name="T66" fmla="*/ 40 w 721"/>
                <a:gd name="T67" fmla="*/ 473 h 729"/>
                <a:gd name="T68" fmla="*/ 64 w 721"/>
                <a:gd name="T69" fmla="*/ 558 h 729"/>
                <a:gd name="T70" fmla="*/ 90 w 721"/>
                <a:gd name="T71" fmla="*/ 609 h 729"/>
                <a:gd name="T72" fmla="*/ 140 w 721"/>
                <a:gd name="T73" fmla="*/ 586 h 729"/>
                <a:gd name="T74" fmla="*/ 194 w 721"/>
                <a:gd name="T75" fmla="*/ 632 h 729"/>
                <a:gd name="T76" fmla="*/ 181 w 721"/>
                <a:gd name="T77" fmla="*/ 683 h 729"/>
                <a:gd name="T78" fmla="*/ 239 w 721"/>
                <a:gd name="T79" fmla="*/ 697 h 729"/>
                <a:gd name="T80" fmla="*/ 327 w 721"/>
                <a:gd name="T81" fmla="*/ 675 h 729"/>
                <a:gd name="T82" fmla="*/ 384 w 721"/>
                <a:gd name="T83" fmla="*/ 729 h 729"/>
                <a:gd name="T84" fmla="*/ 395 w 721"/>
                <a:gd name="T85" fmla="*/ 675 h 729"/>
                <a:gd name="T86" fmla="*/ 466 w 721"/>
                <a:gd name="T87" fmla="*/ 662 h 729"/>
                <a:gd name="T88" fmla="*/ 519 w 721"/>
                <a:gd name="T89" fmla="*/ 694 h 729"/>
                <a:gd name="T90" fmla="*/ 540 w 721"/>
                <a:gd name="T91" fmla="*/ 659 h 729"/>
                <a:gd name="T92" fmla="*/ 582 w 721"/>
                <a:gd name="T93" fmla="*/ 586 h 729"/>
                <a:gd name="T94" fmla="*/ 631 w 721"/>
                <a:gd name="T95" fmla="*/ 610 h 729"/>
                <a:gd name="T96" fmla="*/ 627 w 721"/>
                <a:gd name="T97" fmla="*/ 534 h 729"/>
                <a:gd name="T98" fmla="*/ 655 w 721"/>
                <a:gd name="T99" fmla="*/ 468 h 729"/>
                <a:gd name="T100" fmla="*/ 715 w 721"/>
                <a:gd name="T101" fmla="*/ 454 h 729"/>
                <a:gd name="T102" fmla="*/ 710 w 721"/>
                <a:gd name="T103" fmla="*/ 410 h 729"/>
                <a:gd name="T104" fmla="*/ 672 w 721"/>
                <a:gd name="T105" fmla="*/ 365 h 729"/>
                <a:gd name="T106" fmla="*/ 721 w 721"/>
                <a:gd name="T107" fmla="*/ 31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1" h="729">
                  <a:moveTo>
                    <a:pt x="469" y="155"/>
                  </a:moveTo>
                  <a:cubicBezTo>
                    <a:pt x="436" y="138"/>
                    <a:pt x="398" y="128"/>
                    <a:pt x="359" y="129"/>
                  </a:cubicBezTo>
                  <a:cubicBezTo>
                    <a:pt x="345" y="129"/>
                    <a:pt x="331" y="130"/>
                    <a:pt x="317" y="133"/>
                  </a:cubicBezTo>
                  <a:cubicBezTo>
                    <a:pt x="316" y="133"/>
                    <a:pt x="314" y="133"/>
                    <a:pt x="312" y="134"/>
                  </a:cubicBezTo>
                  <a:cubicBezTo>
                    <a:pt x="254" y="146"/>
                    <a:pt x="204" y="179"/>
                    <a:pt x="170" y="225"/>
                  </a:cubicBezTo>
                  <a:cubicBezTo>
                    <a:pt x="141" y="264"/>
                    <a:pt x="124" y="313"/>
                    <a:pt x="124" y="365"/>
                  </a:cubicBezTo>
                  <a:cubicBezTo>
                    <a:pt x="124" y="369"/>
                    <a:pt x="124" y="372"/>
                    <a:pt x="125" y="376"/>
                  </a:cubicBezTo>
                  <a:cubicBezTo>
                    <a:pt x="126" y="400"/>
                    <a:pt x="130" y="424"/>
                    <a:pt x="138" y="446"/>
                  </a:cubicBezTo>
                  <a:cubicBezTo>
                    <a:pt x="170" y="534"/>
                    <a:pt x="253" y="597"/>
                    <a:pt x="350" y="601"/>
                  </a:cubicBezTo>
                  <a:cubicBezTo>
                    <a:pt x="355" y="602"/>
                    <a:pt x="360" y="602"/>
                    <a:pt x="365" y="602"/>
                  </a:cubicBezTo>
                  <a:cubicBezTo>
                    <a:pt x="477" y="600"/>
                    <a:pt x="573" y="519"/>
                    <a:pt x="593" y="409"/>
                  </a:cubicBezTo>
                  <a:cubicBezTo>
                    <a:pt x="596" y="394"/>
                    <a:pt x="598" y="379"/>
                    <a:pt x="598" y="364"/>
                  </a:cubicBezTo>
                  <a:cubicBezTo>
                    <a:pt x="598" y="273"/>
                    <a:pt x="545" y="194"/>
                    <a:pt x="469" y="155"/>
                  </a:cubicBezTo>
                  <a:close/>
                  <a:moveTo>
                    <a:pt x="469" y="155"/>
                  </a:moveTo>
                  <a:cubicBezTo>
                    <a:pt x="436" y="138"/>
                    <a:pt x="398" y="128"/>
                    <a:pt x="359" y="129"/>
                  </a:cubicBezTo>
                  <a:cubicBezTo>
                    <a:pt x="345" y="129"/>
                    <a:pt x="331" y="130"/>
                    <a:pt x="317" y="133"/>
                  </a:cubicBezTo>
                  <a:cubicBezTo>
                    <a:pt x="316" y="133"/>
                    <a:pt x="314" y="133"/>
                    <a:pt x="312" y="134"/>
                  </a:cubicBezTo>
                  <a:cubicBezTo>
                    <a:pt x="254" y="146"/>
                    <a:pt x="204" y="179"/>
                    <a:pt x="170" y="225"/>
                  </a:cubicBezTo>
                  <a:cubicBezTo>
                    <a:pt x="141" y="264"/>
                    <a:pt x="124" y="313"/>
                    <a:pt x="124" y="365"/>
                  </a:cubicBezTo>
                  <a:cubicBezTo>
                    <a:pt x="124" y="369"/>
                    <a:pt x="124" y="372"/>
                    <a:pt x="125" y="376"/>
                  </a:cubicBezTo>
                  <a:cubicBezTo>
                    <a:pt x="126" y="400"/>
                    <a:pt x="130" y="424"/>
                    <a:pt x="138" y="446"/>
                  </a:cubicBezTo>
                  <a:cubicBezTo>
                    <a:pt x="170" y="534"/>
                    <a:pt x="253" y="597"/>
                    <a:pt x="350" y="601"/>
                  </a:cubicBezTo>
                  <a:cubicBezTo>
                    <a:pt x="355" y="602"/>
                    <a:pt x="360" y="602"/>
                    <a:pt x="365" y="602"/>
                  </a:cubicBezTo>
                  <a:cubicBezTo>
                    <a:pt x="477" y="600"/>
                    <a:pt x="573" y="519"/>
                    <a:pt x="593" y="409"/>
                  </a:cubicBezTo>
                  <a:cubicBezTo>
                    <a:pt x="596" y="394"/>
                    <a:pt x="598" y="379"/>
                    <a:pt x="598" y="364"/>
                  </a:cubicBezTo>
                  <a:cubicBezTo>
                    <a:pt x="598" y="273"/>
                    <a:pt x="545" y="194"/>
                    <a:pt x="469" y="155"/>
                  </a:cubicBezTo>
                  <a:close/>
                  <a:moveTo>
                    <a:pt x="721" y="312"/>
                  </a:moveTo>
                  <a:lnTo>
                    <a:pt x="721" y="305"/>
                  </a:lnTo>
                  <a:cubicBezTo>
                    <a:pt x="721" y="303"/>
                    <a:pt x="720" y="301"/>
                    <a:pt x="720" y="298"/>
                  </a:cubicBezTo>
                  <a:cubicBezTo>
                    <a:pt x="717" y="286"/>
                    <a:pt x="714" y="274"/>
                    <a:pt x="711" y="262"/>
                  </a:cubicBezTo>
                  <a:cubicBezTo>
                    <a:pt x="709" y="255"/>
                    <a:pt x="704" y="252"/>
                    <a:pt x="697" y="253"/>
                  </a:cubicBezTo>
                  <a:cubicBezTo>
                    <a:pt x="684" y="256"/>
                    <a:pt x="672" y="259"/>
                    <a:pt x="659" y="262"/>
                  </a:cubicBezTo>
                  <a:cubicBezTo>
                    <a:pt x="656" y="262"/>
                    <a:pt x="655" y="262"/>
                    <a:pt x="654" y="259"/>
                  </a:cubicBezTo>
                  <a:cubicBezTo>
                    <a:pt x="648" y="246"/>
                    <a:pt x="643" y="233"/>
                    <a:pt x="637" y="220"/>
                  </a:cubicBezTo>
                  <a:cubicBezTo>
                    <a:pt x="633" y="213"/>
                    <a:pt x="629" y="206"/>
                    <a:pt x="625" y="199"/>
                  </a:cubicBezTo>
                  <a:lnTo>
                    <a:pt x="628" y="196"/>
                  </a:lnTo>
                  <a:cubicBezTo>
                    <a:pt x="638" y="188"/>
                    <a:pt x="648" y="180"/>
                    <a:pt x="658" y="172"/>
                  </a:cubicBezTo>
                  <a:cubicBezTo>
                    <a:pt x="663" y="168"/>
                    <a:pt x="664" y="162"/>
                    <a:pt x="660" y="157"/>
                  </a:cubicBezTo>
                  <a:cubicBezTo>
                    <a:pt x="651" y="144"/>
                    <a:pt x="641" y="132"/>
                    <a:pt x="631" y="120"/>
                  </a:cubicBezTo>
                  <a:cubicBezTo>
                    <a:pt x="626" y="115"/>
                    <a:pt x="620" y="115"/>
                    <a:pt x="615" y="119"/>
                  </a:cubicBezTo>
                  <a:cubicBezTo>
                    <a:pt x="607" y="125"/>
                    <a:pt x="598" y="132"/>
                    <a:pt x="590" y="139"/>
                  </a:cubicBezTo>
                  <a:cubicBezTo>
                    <a:pt x="587" y="141"/>
                    <a:pt x="584" y="143"/>
                    <a:pt x="582" y="145"/>
                  </a:cubicBezTo>
                  <a:cubicBezTo>
                    <a:pt x="568" y="131"/>
                    <a:pt x="553" y="119"/>
                    <a:pt x="537" y="108"/>
                  </a:cubicBezTo>
                  <a:cubicBezTo>
                    <a:pt x="534" y="106"/>
                    <a:pt x="530" y="103"/>
                    <a:pt x="526" y="101"/>
                  </a:cubicBezTo>
                  <a:lnTo>
                    <a:pt x="528" y="98"/>
                  </a:lnTo>
                  <a:cubicBezTo>
                    <a:pt x="533" y="86"/>
                    <a:pt x="539" y="75"/>
                    <a:pt x="544" y="63"/>
                  </a:cubicBezTo>
                  <a:cubicBezTo>
                    <a:pt x="548" y="56"/>
                    <a:pt x="546" y="51"/>
                    <a:pt x="539" y="47"/>
                  </a:cubicBezTo>
                  <a:cubicBezTo>
                    <a:pt x="532" y="43"/>
                    <a:pt x="525" y="39"/>
                    <a:pt x="517" y="35"/>
                  </a:cubicBezTo>
                  <a:cubicBezTo>
                    <a:pt x="511" y="32"/>
                    <a:pt x="505" y="30"/>
                    <a:pt x="498" y="27"/>
                  </a:cubicBezTo>
                  <a:cubicBezTo>
                    <a:pt x="491" y="24"/>
                    <a:pt x="486" y="26"/>
                    <a:pt x="483" y="33"/>
                  </a:cubicBezTo>
                  <a:cubicBezTo>
                    <a:pt x="477" y="45"/>
                    <a:pt x="472" y="56"/>
                    <a:pt x="466" y="67"/>
                  </a:cubicBezTo>
                  <a:cubicBezTo>
                    <a:pt x="465" y="70"/>
                    <a:pt x="463" y="71"/>
                    <a:pt x="460" y="70"/>
                  </a:cubicBezTo>
                  <a:cubicBezTo>
                    <a:pt x="440" y="63"/>
                    <a:pt x="420" y="58"/>
                    <a:pt x="399" y="56"/>
                  </a:cubicBezTo>
                  <a:cubicBezTo>
                    <a:pt x="396" y="56"/>
                    <a:pt x="395" y="54"/>
                    <a:pt x="395" y="52"/>
                  </a:cubicBezTo>
                  <a:cubicBezTo>
                    <a:pt x="395" y="39"/>
                    <a:pt x="395" y="26"/>
                    <a:pt x="395" y="13"/>
                  </a:cubicBezTo>
                  <a:cubicBezTo>
                    <a:pt x="395" y="6"/>
                    <a:pt x="391" y="2"/>
                    <a:pt x="384" y="1"/>
                  </a:cubicBezTo>
                  <a:cubicBezTo>
                    <a:pt x="382" y="1"/>
                    <a:pt x="380" y="1"/>
                    <a:pt x="377" y="0"/>
                  </a:cubicBezTo>
                  <a:lnTo>
                    <a:pt x="344" y="0"/>
                  </a:lnTo>
                  <a:cubicBezTo>
                    <a:pt x="342" y="0"/>
                    <a:pt x="341" y="1"/>
                    <a:pt x="339" y="1"/>
                  </a:cubicBezTo>
                  <a:cubicBezTo>
                    <a:pt x="331" y="2"/>
                    <a:pt x="327" y="6"/>
                    <a:pt x="327" y="13"/>
                  </a:cubicBezTo>
                  <a:cubicBezTo>
                    <a:pt x="327" y="26"/>
                    <a:pt x="327" y="39"/>
                    <a:pt x="326" y="52"/>
                  </a:cubicBezTo>
                  <a:cubicBezTo>
                    <a:pt x="326" y="54"/>
                    <a:pt x="326" y="56"/>
                    <a:pt x="323" y="56"/>
                  </a:cubicBezTo>
                  <a:cubicBezTo>
                    <a:pt x="302" y="58"/>
                    <a:pt x="281" y="63"/>
                    <a:pt x="261" y="70"/>
                  </a:cubicBezTo>
                  <a:cubicBezTo>
                    <a:pt x="258" y="71"/>
                    <a:pt x="257" y="70"/>
                    <a:pt x="256" y="68"/>
                  </a:cubicBezTo>
                  <a:cubicBezTo>
                    <a:pt x="250" y="56"/>
                    <a:pt x="244" y="45"/>
                    <a:pt x="239" y="33"/>
                  </a:cubicBezTo>
                  <a:cubicBezTo>
                    <a:pt x="236" y="26"/>
                    <a:pt x="229" y="25"/>
                    <a:pt x="224" y="27"/>
                  </a:cubicBezTo>
                  <a:cubicBezTo>
                    <a:pt x="221" y="28"/>
                    <a:pt x="218" y="30"/>
                    <a:pt x="216" y="31"/>
                  </a:cubicBezTo>
                  <a:cubicBezTo>
                    <a:pt x="204" y="36"/>
                    <a:pt x="193" y="42"/>
                    <a:pt x="182" y="47"/>
                  </a:cubicBezTo>
                  <a:cubicBezTo>
                    <a:pt x="176" y="50"/>
                    <a:pt x="174" y="56"/>
                    <a:pt x="177" y="63"/>
                  </a:cubicBezTo>
                  <a:cubicBezTo>
                    <a:pt x="182" y="73"/>
                    <a:pt x="187" y="83"/>
                    <a:pt x="191" y="92"/>
                  </a:cubicBezTo>
                  <a:lnTo>
                    <a:pt x="195" y="101"/>
                  </a:lnTo>
                  <a:cubicBezTo>
                    <a:pt x="175" y="114"/>
                    <a:pt x="157" y="128"/>
                    <a:pt x="140" y="145"/>
                  </a:cubicBezTo>
                  <a:cubicBezTo>
                    <a:pt x="129" y="136"/>
                    <a:pt x="118" y="127"/>
                    <a:pt x="107" y="119"/>
                  </a:cubicBezTo>
                  <a:cubicBezTo>
                    <a:pt x="101" y="115"/>
                    <a:pt x="95" y="115"/>
                    <a:pt x="91" y="120"/>
                  </a:cubicBezTo>
                  <a:cubicBezTo>
                    <a:pt x="81" y="132"/>
                    <a:pt x="71" y="144"/>
                    <a:pt x="61" y="157"/>
                  </a:cubicBezTo>
                  <a:cubicBezTo>
                    <a:pt x="58" y="162"/>
                    <a:pt x="59" y="168"/>
                    <a:pt x="64" y="172"/>
                  </a:cubicBezTo>
                  <a:cubicBezTo>
                    <a:pt x="74" y="180"/>
                    <a:pt x="84" y="188"/>
                    <a:pt x="94" y="196"/>
                  </a:cubicBezTo>
                  <a:lnTo>
                    <a:pt x="97" y="199"/>
                  </a:lnTo>
                  <a:cubicBezTo>
                    <a:pt x="91" y="209"/>
                    <a:pt x="85" y="219"/>
                    <a:pt x="80" y="230"/>
                  </a:cubicBezTo>
                  <a:lnTo>
                    <a:pt x="79" y="233"/>
                  </a:lnTo>
                  <a:cubicBezTo>
                    <a:pt x="77" y="236"/>
                    <a:pt x="76" y="240"/>
                    <a:pt x="74" y="243"/>
                  </a:cubicBezTo>
                  <a:cubicBezTo>
                    <a:pt x="73" y="245"/>
                    <a:pt x="72" y="247"/>
                    <a:pt x="72" y="249"/>
                  </a:cubicBezTo>
                  <a:lnTo>
                    <a:pt x="66" y="262"/>
                  </a:lnTo>
                  <a:lnTo>
                    <a:pt x="63" y="262"/>
                  </a:lnTo>
                  <a:cubicBezTo>
                    <a:pt x="50" y="259"/>
                    <a:pt x="38" y="256"/>
                    <a:pt x="25" y="254"/>
                  </a:cubicBezTo>
                  <a:cubicBezTo>
                    <a:pt x="18" y="252"/>
                    <a:pt x="13" y="255"/>
                    <a:pt x="11" y="262"/>
                  </a:cubicBezTo>
                  <a:lnTo>
                    <a:pt x="11" y="262"/>
                  </a:lnTo>
                  <a:cubicBezTo>
                    <a:pt x="9" y="267"/>
                    <a:pt x="8" y="273"/>
                    <a:pt x="7" y="278"/>
                  </a:cubicBezTo>
                  <a:cubicBezTo>
                    <a:pt x="4" y="287"/>
                    <a:pt x="2" y="297"/>
                    <a:pt x="0" y="307"/>
                  </a:cubicBezTo>
                  <a:lnTo>
                    <a:pt x="0" y="311"/>
                  </a:lnTo>
                  <a:cubicBezTo>
                    <a:pt x="2" y="317"/>
                    <a:pt x="6" y="320"/>
                    <a:pt x="12" y="321"/>
                  </a:cubicBezTo>
                  <a:cubicBezTo>
                    <a:pt x="19" y="322"/>
                    <a:pt x="26" y="324"/>
                    <a:pt x="33" y="326"/>
                  </a:cubicBezTo>
                  <a:cubicBezTo>
                    <a:pt x="39" y="327"/>
                    <a:pt x="45" y="328"/>
                    <a:pt x="50" y="330"/>
                  </a:cubicBezTo>
                  <a:lnTo>
                    <a:pt x="50" y="401"/>
                  </a:lnTo>
                  <a:lnTo>
                    <a:pt x="47" y="401"/>
                  </a:lnTo>
                  <a:cubicBezTo>
                    <a:pt x="36" y="404"/>
                    <a:pt x="24" y="407"/>
                    <a:pt x="12" y="410"/>
                  </a:cubicBezTo>
                  <a:cubicBezTo>
                    <a:pt x="6" y="411"/>
                    <a:pt x="2" y="413"/>
                    <a:pt x="0" y="419"/>
                  </a:cubicBezTo>
                  <a:lnTo>
                    <a:pt x="0" y="424"/>
                  </a:lnTo>
                  <a:lnTo>
                    <a:pt x="1" y="427"/>
                  </a:lnTo>
                  <a:cubicBezTo>
                    <a:pt x="4" y="440"/>
                    <a:pt x="7" y="454"/>
                    <a:pt x="11" y="468"/>
                  </a:cubicBezTo>
                  <a:cubicBezTo>
                    <a:pt x="13" y="476"/>
                    <a:pt x="17" y="478"/>
                    <a:pt x="26" y="477"/>
                  </a:cubicBezTo>
                  <a:cubicBezTo>
                    <a:pt x="30" y="476"/>
                    <a:pt x="35" y="475"/>
                    <a:pt x="40" y="473"/>
                  </a:cubicBezTo>
                  <a:cubicBezTo>
                    <a:pt x="49" y="472"/>
                    <a:pt x="58" y="470"/>
                    <a:pt x="66" y="468"/>
                  </a:cubicBezTo>
                  <a:cubicBezTo>
                    <a:pt x="74" y="490"/>
                    <a:pt x="85" y="511"/>
                    <a:pt x="97" y="531"/>
                  </a:cubicBezTo>
                  <a:cubicBezTo>
                    <a:pt x="86" y="540"/>
                    <a:pt x="75" y="549"/>
                    <a:pt x="64" y="558"/>
                  </a:cubicBezTo>
                  <a:cubicBezTo>
                    <a:pt x="59" y="562"/>
                    <a:pt x="58" y="568"/>
                    <a:pt x="62" y="574"/>
                  </a:cubicBezTo>
                  <a:cubicBezTo>
                    <a:pt x="63" y="576"/>
                    <a:pt x="65" y="578"/>
                    <a:pt x="66" y="580"/>
                  </a:cubicBezTo>
                  <a:cubicBezTo>
                    <a:pt x="74" y="590"/>
                    <a:pt x="82" y="600"/>
                    <a:pt x="90" y="609"/>
                  </a:cubicBezTo>
                  <a:cubicBezTo>
                    <a:pt x="95" y="616"/>
                    <a:pt x="101" y="616"/>
                    <a:pt x="107" y="611"/>
                  </a:cubicBezTo>
                  <a:cubicBezTo>
                    <a:pt x="111" y="608"/>
                    <a:pt x="115" y="605"/>
                    <a:pt x="119" y="602"/>
                  </a:cubicBezTo>
                  <a:cubicBezTo>
                    <a:pt x="126" y="596"/>
                    <a:pt x="133" y="591"/>
                    <a:pt x="140" y="586"/>
                  </a:cubicBezTo>
                  <a:cubicBezTo>
                    <a:pt x="149" y="593"/>
                    <a:pt x="158" y="601"/>
                    <a:pt x="167" y="609"/>
                  </a:cubicBezTo>
                  <a:cubicBezTo>
                    <a:pt x="176" y="616"/>
                    <a:pt x="185" y="623"/>
                    <a:pt x="195" y="630"/>
                  </a:cubicBezTo>
                  <a:lnTo>
                    <a:pt x="194" y="632"/>
                  </a:lnTo>
                  <a:lnTo>
                    <a:pt x="184" y="654"/>
                  </a:lnTo>
                  <a:cubicBezTo>
                    <a:pt x="181" y="659"/>
                    <a:pt x="179" y="663"/>
                    <a:pt x="177" y="668"/>
                  </a:cubicBezTo>
                  <a:cubicBezTo>
                    <a:pt x="174" y="674"/>
                    <a:pt x="176" y="680"/>
                    <a:pt x="181" y="683"/>
                  </a:cubicBezTo>
                  <a:cubicBezTo>
                    <a:pt x="184" y="684"/>
                    <a:pt x="187" y="686"/>
                    <a:pt x="191" y="687"/>
                  </a:cubicBezTo>
                  <a:cubicBezTo>
                    <a:pt x="202" y="693"/>
                    <a:pt x="213" y="698"/>
                    <a:pt x="224" y="703"/>
                  </a:cubicBezTo>
                  <a:cubicBezTo>
                    <a:pt x="230" y="706"/>
                    <a:pt x="236" y="704"/>
                    <a:pt x="239" y="697"/>
                  </a:cubicBezTo>
                  <a:cubicBezTo>
                    <a:pt x="242" y="691"/>
                    <a:pt x="246" y="684"/>
                    <a:pt x="249" y="677"/>
                  </a:cubicBezTo>
                  <a:cubicBezTo>
                    <a:pt x="252" y="671"/>
                    <a:pt x="255" y="665"/>
                    <a:pt x="258" y="659"/>
                  </a:cubicBezTo>
                  <a:cubicBezTo>
                    <a:pt x="280" y="667"/>
                    <a:pt x="303" y="672"/>
                    <a:pt x="327" y="675"/>
                  </a:cubicBezTo>
                  <a:lnTo>
                    <a:pt x="327" y="717"/>
                  </a:lnTo>
                  <a:cubicBezTo>
                    <a:pt x="327" y="725"/>
                    <a:pt x="330" y="729"/>
                    <a:pt x="338" y="729"/>
                  </a:cubicBezTo>
                  <a:cubicBezTo>
                    <a:pt x="353" y="729"/>
                    <a:pt x="369" y="729"/>
                    <a:pt x="384" y="729"/>
                  </a:cubicBezTo>
                  <a:cubicBezTo>
                    <a:pt x="392" y="729"/>
                    <a:pt x="395" y="724"/>
                    <a:pt x="395" y="717"/>
                  </a:cubicBezTo>
                  <a:cubicBezTo>
                    <a:pt x="395" y="704"/>
                    <a:pt x="395" y="691"/>
                    <a:pt x="395" y="678"/>
                  </a:cubicBezTo>
                  <a:lnTo>
                    <a:pt x="395" y="675"/>
                  </a:lnTo>
                  <a:cubicBezTo>
                    <a:pt x="404" y="674"/>
                    <a:pt x="412" y="673"/>
                    <a:pt x="420" y="671"/>
                  </a:cubicBezTo>
                  <a:cubicBezTo>
                    <a:pt x="435" y="668"/>
                    <a:pt x="450" y="664"/>
                    <a:pt x="464" y="659"/>
                  </a:cubicBezTo>
                  <a:lnTo>
                    <a:pt x="466" y="662"/>
                  </a:lnTo>
                  <a:cubicBezTo>
                    <a:pt x="471" y="674"/>
                    <a:pt x="477" y="685"/>
                    <a:pt x="483" y="696"/>
                  </a:cubicBezTo>
                  <a:cubicBezTo>
                    <a:pt x="486" y="704"/>
                    <a:pt x="491" y="706"/>
                    <a:pt x="499" y="703"/>
                  </a:cubicBezTo>
                  <a:cubicBezTo>
                    <a:pt x="506" y="700"/>
                    <a:pt x="513" y="697"/>
                    <a:pt x="519" y="694"/>
                  </a:cubicBezTo>
                  <a:cubicBezTo>
                    <a:pt x="526" y="691"/>
                    <a:pt x="533" y="687"/>
                    <a:pt x="539" y="683"/>
                  </a:cubicBezTo>
                  <a:cubicBezTo>
                    <a:pt x="546" y="680"/>
                    <a:pt x="548" y="674"/>
                    <a:pt x="544" y="667"/>
                  </a:cubicBezTo>
                  <a:cubicBezTo>
                    <a:pt x="543" y="664"/>
                    <a:pt x="542" y="662"/>
                    <a:pt x="540" y="659"/>
                  </a:cubicBezTo>
                  <a:cubicBezTo>
                    <a:pt x="536" y="649"/>
                    <a:pt x="531" y="639"/>
                    <a:pt x="527" y="630"/>
                  </a:cubicBezTo>
                  <a:cubicBezTo>
                    <a:pt x="536" y="623"/>
                    <a:pt x="546" y="616"/>
                    <a:pt x="555" y="609"/>
                  </a:cubicBezTo>
                  <a:cubicBezTo>
                    <a:pt x="564" y="601"/>
                    <a:pt x="573" y="593"/>
                    <a:pt x="582" y="586"/>
                  </a:cubicBezTo>
                  <a:lnTo>
                    <a:pt x="585" y="588"/>
                  </a:lnTo>
                  <a:cubicBezTo>
                    <a:pt x="595" y="596"/>
                    <a:pt x="605" y="604"/>
                    <a:pt x="615" y="611"/>
                  </a:cubicBezTo>
                  <a:cubicBezTo>
                    <a:pt x="621" y="616"/>
                    <a:pt x="626" y="616"/>
                    <a:pt x="631" y="610"/>
                  </a:cubicBezTo>
                  <a:cubicBezTo>
                    <a:pt x="641" y="598"/>
                    <a:pt x="651" y="586"/>
                    <a:pt x="660" y="573"/>
                  </a:cubicBezTo>
                  <a:cubicBezTo>
                    <a:pt x="664" y="568"/>
                    <a:pt x="663" y="562"/>
                    <a:pt x="658" y="558"/>
                  </a:cubicBezTo>
                  <a:cubicBezTo>
                    <a:pt x="648" y="550"/>
                    <a:pt x="637" y="542"/>
                    <a:pt x="627" y="534"/>
                  </a:cubicBezTo>
                  <a:lnTo>
                    <a:pt x="625" y="531"/>
                  </a:lnTo>
                  <a:cubicBezTo>
                    <a:pt x="637" y="512"/>
                    <a:pt x="647" y="491"/>
                    <a:pt x="655" y="470"/>
                  </a:cubicBezTo>
                  <a:lnTo>
                    <a:pt x="655" y="468"/>
                  </a:lnTo>
                  <a:cubicBezTo>
                    <a:pt x="669" y="471"/>
                    <a:pt x="683" y="474"/>
                    <a:pt x="697" y="477"/>
                  </a:cubicBezTo>
                  <a:cubicBezTo>
                    <a:pt x="704" y="478"/>
                    <a:pt x="709" y="475"/>
                    <a:pt x="711" y="469"/>
                  </a:cubicBezTo>
                  <a:cubicBezTo>
                    <a:pt x="712" y="464"/>
                    <a:pt x="714" y="459"/>
                    <a:pt x="715" y="454"/>
                  </a:cubicBezTo>
                  <a:cubicBezTo>
                    <a:pt x="717" y="444"/>
                    <a:pt x="719" y="434"/>
                    <a:pt x="721" y="425"/>
                  </a:cubicBezTo>
                  <a:lnTo>
                    <a:pt x="721" y="418"/>
                  </a:lnTo>
                  <a:cubicBezTo>
                    <a:pt x="719" y="413"/>
                    <a:pt x="715" y="411"/>
                    <a:pt x="710" y="410"/>
                  </a:cubicBezTo>
                  <a:cubicBezTo>
                    <a:pt x="702" y="408"/>
                    <a:pt x="693" y="406"/>
                    <a:pt x="685" y="404"/>
                  </a:cubicBezTo>
                  <a:cubicBezTo>
                    <a:pt x="680" y="403"/>
                    <a:pt x="675" y="402"/>
                    <a:pt x="671" y="401"/>
                  </a:cubicBezTo>
                  <a:cubicBezTo>
                    <a:pt x="672" y="388"/>
                    <a:pt x="672" y="377"/>
                    <a:pt x="672" y="365"/>
                  </a:cubicBezTo>
                  <a:cubicBezTo>
                    <a:pt x="672" y="353"/>
                    <a:pt x="672" y="342"/>
                    <a:pt x="671" y="330"/>
                  </a:cubicBezTo>
                  <a:cubicBezTo>
                    <a:pt x="684" y="327"/>
                    <a:pt x="697" y="323"/>
                    <a:pt x="710" y="321"/>
                  </a:cubicBezTo>
                  <a:cubicBezTo>
                    <a:pt x="715" y="319"/>
                    <a:pt x="719" y="317"/>
                    <a:pt x="721" y="312"/>
                  </a:cubicBezTo>
                </a:path>
              </a:pathLst>
            </a:custGeom>
            <a:solidFill>
              <a:srgbClr val="C4D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5">
              <a:extLst>
                <a:ext uri="{FF2B5EF4-FFF2-40B4-BE49-F238E27FC236}">
                  <a16:creationId xmlns:a16="http://schemas.microsoft.com/office/drawing/2014/main" id="{37F5ADB0-45FE-844F-0243-9417F1244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29388" y="2698750"/>
              <a:ext cx="295275" cy="307975"/>
            </a:xfrm>
            <a:custGeom>
              <a:avLst/>
              <a:gdLst>
                <a:gd name="T0" fmla="*/ 14 w 653"/>
                <a:gd name="T1" fmla="*/ 222 h 675"/>
                <a:gd name="T2" fmla="*/ 52 w 653"/>
                <a:gd name="T3" fmla="*/ 231 h 675"/>
                <a:gd name="T4" fmla="*/ 55 w 653"/>
                <a:gd name="T5" fmla="*/ 231 h 675"/>
                <a:gd name="T6" fmla="*/ 69 w 653"/>
                <a:gd name="T7" fmla="*/ 199 h 675"/>
                <a:gd name="T8" fmla="*/ 86 w 653"/>
                <a:gd name="T9" fmla="*/ 168 h 675"/>
                <a:gd name="T10" fmla="*/ 83 w 653"/>
                <a:gd name="T11" fmla="*/ 165 h 675"/>
                <a:gd name="T12" fmla="*/ 53 w 653"/>
                <a:gd name="T13" fmla="*/ 141 h 675"/>
                <a:gd name="T14" fmla="*/ 51 w 653"/>
                <a:gd name="T15" fmla="*/ 126 h 675"/>
                <a:gd name="T16" fmla="*/ 80 w 653"/>
                <a:gd name="T17" fmla="*/ 89 h 675"/>
                <a:gd name="T18" fmla="*/ 96 w 653"/>
                <a:gd name="T19" fmla="*/ 88 h 675"/>
                <a:gd name="T20" fmla="*/ 129 w 653"/>
                <a:gd name="T21" fmla="*/ 114 h 675"/>
                <a:gd name="T22" fmla="*/ 184 w 653"/>
                <a:gd name="T23" fmla="*/ 70 h 675"/>
                <a:gd name="T24" fmla="*/ 180 w 653"/>
                <a:gd name="T25" fmla="*/ 61 h 675"/>
                <a:gd name="T26" fmla="*/ 166 w 653"/>
                <a:gd name="T27" fmla="*/ 31 h 675"/>
                <a:gd name="T28" fmla="*/ 171 w 653"/>
                <a:gd name="T29" fmla="*/ 16 h 675"/>
                <a:gd name="T30" fmla="*/ 205 w 653"/>
                <a:gd name="T31" fmla="*/ 0 h 675"/>
                <a:gd name="T32" fmla="*/ 644 w 653"/>
                <a:gd name="T33" fmla="*/ 439 h 675"/>
                <a:gd name="T34" fmla="*/ 614 w 653"/>
                <a:gd name="T35" fmla="*/ 500 h 675"/>
                <a:gd name="T36" fmla="*/ 616 w 653"/>
                <a:gd name="T37" fmla="*/ 503 h 675"/>
                <a:gd name="T38" fmla="*/ 647 w 653"/>
                <a:gd name="T39" fmla="*/ 527 h 675"/>
                <a:gd name="T40" fmla="*/ 649 w 653"/>
                <a:gd name="T41" fmla="*/ 542 h 675"/>
                <a:gd name="T42" fmla="*/ 620 w 653"/>
                <a:gd name="T43" fmla="*/ 579 h 675"/>
                <a:gd name="T44" fmla="*/ 604 w 653"/>
                <a:gd name="T45" fmla="*/ 580 h 675"/>
                <a:gd name="T46" fmla="*/ 574 w 653"/>
                <a:gd name="T47" fmla="*/ 557 h 675"/>
                <a:gd name="T48" fmla="*/ 571 w 653"/>
                <a:gd name="T49" fmla="*/ 554 h 675"/>
                <a:gd name="T50" fmla="*/ 544 w 653"/>
                <a:gd name="T51" fmla="*/ 578 h 675"/>
                <a:gd name="T52" fmla="*/ 516 w 653"/>
                <a:gd name="T53" fmla="*/ 599 h 675"/>
                <a:gd name="T54" fmla="*/ 529 w 653"/>
                <a:gd name="T55" fmla="*/ 627 h 675"/>
                <a:gd name="T56" fmla="*/ 533 w 653"/>
                <a:gd name="T57" fmla="*/ 636 h 675"/>
                <a:gd name="T58" fmla="*/ 529 w 653"/>
                <a:gd name="T59" fmla="*/ 652 h 675"/>
                <a:gd name="T60" fmla="*/ 508 w 653"/>
                <a:gd name="T61" fmla="*/ 663 h 675"/>
                <a:gd name="T62" fmla="*/ 488 w 653"/>
                <a:gd name="T63" fmla="*/ 672 h 675"/>
                <a:gd name="T64" fmla="*/ 472 w 653"/>
                <a:gd name="T65" fmla="*/ 665 h 675"/>
                <a:gd name="T66" fmla="*/ 455 w 653"/>
                <a:gd name="T67" fmla="*/ 631 h 675"/>
                <a:gd name="T68" fmla="*/ 453 w 653"/>
                <a:gd name="T69" fmla="*/ 628 h 675"/>
                <a:gd name="T70" fmla="*/ 409 w 653"/>
                <a:gd name="T71" fmla="*/ 640 h 675"/>
                <a:gd name="T72" fmla="*/ 0 w 653"/>
                <a:gd name="T73" fmla="*/ 231 h 675"/>
                <a:gd name="T74" fmla="*/ 0 w 653"/>
                <a:gd name="T75" fmla="*/ 231 h 675"/>
                <a:gd name="T76" fmla="*/ 14 w 653"/>
                <a:gd name="T77" fmla="*/ 222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3" h="675">
                  <a:moveTo>
                    <a:pt x="14" y="222"/>
                  </a:moveTo>
                  <a:cubicBezTo>
                    <a:pt x="27" y="225"/>
                    <a:pt x="39" y="228"/>
                    <a:pt x="52" y="231"/>
                  </a:cubicBezTo>
                  <a:lnTo>
                    <a:pt x="55" y="231"/>
                  </a:lnTo>
                  <a:cubicBezTo>
                    <a:pt x="60" y="220"/>
                    <a:pt x="64" y="209"/>
                    <a:pt x="69" y="199"/>
                  </a:cubicBezTo>
                  <a:cubicBezTo>
                    <a:pt x="74" y="188"/>
                    <a:pt x="80" y="178"/>
                    <a:pt x="86" y="168"/>
                  </a:cubicBezTo>
                  <a:lnTo>
                    <a:pt x="83" y="165"/>
                  </a:lnTo>
                  <a:cubicBezTo>
                    <a:pt x="73" y="157"/>
                    <a:pt x="63" y="149"/>
                    <a:pt x="53" y="141"/>
                  </a:cubicBezTo>
                  <a:cubicBezTo>
                    <a:pt x="48" y="137"/>
                    <a:pt x="47" y="131"/>
                    <a:pt x="51" y="126"/>
                  </a:cubicBezTo>
                  <a:cubicBezTo>
                    <a:pt x="60" y="113"/>
                    <a:pt x="70" y="101"/>
                    <a:pt x="80" y="89"/>
                  </a:cubicBezTo>
                  <a:cubicBezTo>
                    <a:pt x="84" y="83"/>
                    <a:pt x="90" y="84"/>
                    <a:pt x="96" y="88"/>
                  </a:cubicBezTo>
                  <a:cubicBezTo>
                    <a:pt x="107" y="96"/>
                    <a:pt x="118" y="105"/>
                    <a:pt x="129" y="114"/>
                  </a:cubicBezTo>
                  <a:cubicBezTo>
                    <a:pt x="146" y="97"/>
                    <a:pt x="164" y="83"/>
                    <a:pt x="184" y="70"/>
                  </a:cubicBezTo>
                  <a:cubicBezTo>
                    <a:pt x="183" y="67"/>
                    <a:pt x="182" y="64"/>
                    <a:pt x="180" y="61"/>
                  </a:cubicBezTo>
                  <a:cubicBezTo>
                    <a:pt x="176" y="51"/>
                    <a:pt x="171" y="41"/>
                    <a:pt x="166" y="31"/>
                  </a:cubicBezTo>
                  <a:cubicBezTo>
                    <a:pt x="163" y="25"/>
                    <a:pt x="165" y="19"/>
                    <a:pt x="171" y="16"/>
                  </a:cubicBezTo>
                  <a:cubicBezTo>
                    <a:pt x="182" y="10"/>
                    <a:pt x="193" y="5"/>
                    <a:pt x="205" y="0"/>
                  </a:cubicBezTo>
                  <a:lnTo>
                    <a:pt x="644" y="439"/>
                  </a:lnTo>
                  <a:cubicBezTo>
                    <a:pt x="636" y="460"/>
                    <a:pt x="626" y="481"/>
                    <a:pt x="614" y="500"/>
                  </a:cubicBezTo>
                  <a:lnTo>
                    <a:pt x="616" y="503"/>
                  </a:lnTo>
                  <a:cubicBezTo>
                    <a:pt x="627" y="511"/>
                    <a:pt x="637" y="519"/>
                    <a:pt x="647" y="527"/>
                  </a:cubicBezTo>
                  <a:cubicBezTo>
                    <a:pt x="652" y="531"/>
                    <a:pt x="653" y="537"/>
                    <a:pt x="649" y="542"/>
                  </a:cubicBezTo>
                  <a:cubicBezTo>
                    <a:pt x="640" y="555"/>
                    <a:pt x="630" y="567"/>
                    <a:pt x="620" y="579"/>
                  </a:cubicBezTo>
                  <a:cubicBezTo>
                    <a:pt x="615" y="585"/>
                    <a:pt x="610" y="585"/>
                    <a:pt x="604" y="580"/>
                  </a:cubicBezTo>
                  <a:cubicBezTo>
                    <a:pt x="594" y="572"/>
                    <a:pt x="584" y="565"/>
                    <a:pt x="574" y="557"/>
                  </a:cubicBezTo>
                  <a:lnTo>
                    <a:pt x="571" y="554"/>
                  </a:lnTo>
                  <a:cubicBezTo>
                    <a:pt x="562" y="562"/>
                    <a:pt x="553" y="570"/>
                    <a:pt x="544" y="578"/>
                  </a:cubicBezTo>
                  <a:cubicBezTo>
                    <a:pt x="535" y="585"/>
                    <a:pt x="525" y="592"/>
                    <a:pt x="516" y="599"/>
                  </a:cubicBezTo>
                  <a:cubicBezTo>
                    <a:pt x="520" y="608"/>
                    <a:pt x="525" y="618"/>
                    <a:pt x="529" y="627"/>
                  </a:cubicBezTo>
                  <a:cubicBezTo>
                    <a:pt x="531" y="630"/>
                    <a:pt x="532" y="633"/>
                    <a:pt x="533" y="636"/>
                  </a:cubicBezTo>
                  <a:cubicBezTo>
                    <a:pt x="537" y="643"/>
                    <a:pt x="535" y="648"/>
                    <a:pt x="529" y="652"/>
                  </a:cubicBezTo>
                  <a:cubicBezTo>
                    <a:pt x="522" y="656"/>
                    <a:pt x="515" y="660"/>
                    <a:pt x="508" y="663"/>
                  </a:cubicBezTo>
                  <a:cubicBezTo>
                    <a:pt x="502" y="666"/>
                    <a:pt x="495" y="669"/>
                    <a:pt x="488" y="672"/>
                  </a:cubicBezTo>
                  <a:cubicBezTo>
                    <a:pt x="480" y="675"/>
                    <a:pt x="475" y="673"/>
                    <a:pt x="472" y="665"/>
                  </a:cubicBezTo>
                  <a:cubicBezTo>
                    <a:pt x="466" y="654"/>
                    <a:pt x="460" y="642"/>
                    <a:pt x="455" y="631"/>
                  </a:cubicBezTo>
                  <a:lnTo>
                    <a:pt x="453" y="628"/>
                  </a:lnTo>
                  <a:cubicBezTo>
                    <a:pt x="439" y="633"/>
                    <a:pt x="424" y="637"/>
                    <a:pt x="409" y="640"/>
                  </a:cubicBezTo>
                  <a:lnTo>
                    <a:pt x="0" y="231"/>
                  </a:lnTo>
                  <a:lnTo>
                    <a:pt x="0" y="231"/>
                  </a:lnTo>
                  <a:cubicBezTo>
                    <a:pt x="2" y="224"/>
                    <a:pt x="7" y="221"/>
                    <a:pt x="14" y="222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Oval 36">
              <a:extLst>
                <a:ext uri="{FF2B5EF4-FFF2-40B4-BE49-F238E27FC236}">
                  <a16:creationId xmlns:a16="http://schemas.microsoft.com/office/drawing/2014/main" id="{8D80CCC2-BD7B-A029-79C0-E7FB4531D8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413500" y="2808287"/>
              <a:ext cx="85725" cy="85725"/>
            </a:xfrm>
            <a:prstGeom prst="ellipse">
              <a:avLst/>
            </a:prstGeom>
            <a:solidFill>
              <a:srgbClr val="6E87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7">
              <a:extLst>
                <a:ext uri="{FF2B5EF4-FFF2-40B4-BE49-F238E27FC236}">
                  <a16:creationId xmlns:a16="http://schemas.microsoft.com/office/drawing/2014/main" id="{00A65800-2BC3-914D-30D4-97B7D4ACBD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472238" y="2747962"/>
              <a:ext cx="203200" cy="204788"/>
            </a:xfrm>
            <a:custGeom>
              <a:avLst/>
              <a:gdLst>
                <a:gd name="T0" fmla="*/ 225 w 450"/>
                <a:gd name="T1" fmla="*/ 424 h 450"/>
                <a:gd name="T2" fmla="*/ 168 w 450"/>
                <a:gd name="T3" fmla="*/ 416 h 450"/>
                <a:gd name="T4" fmla="*/ 34 w 450"/>
                <a:gd name="T5" fmla="*/ 281 h 450"/>
                <a:gd name="T6" fmla="*/ 26 w 450"/>
                <a:gd name="T7" fmla="*/ 233 h 450"/>
                <a:gd name="T8" fmla="*/ 26 w 450"/>
                <a:gd name="T9" fmla="*/ 225 h 450"/>
                <a:gd name="T10" fmla="*/ 215 w 450"/>
                <a:gd name="T11" fmla="*/ 26 h 450"/>
                <a:gd name="T12" fmla="*/ 225 w 450"/>
                <a:gd name="T13" fmla="*/ 26 h 450"/>
                <a:gd name="T14" fmla="*/ 341 w 450"/>
                <a:gd name="T15" fmla="*/ 63 h 450"/>
                <a:gd name="T16" fmla="*/ 360 w 450"/>
                <a:gd name="T17" fmla="*/ 79 h 450"/>
                <a:gd name="T18" fmla="*/ 361 w 450"/>
                <a:gd name="T19" fmla="*/ 79 h 450"/>
                <a:gd name="T20" fmla="*/ 364 w 450"/>
                <a:gd name="T21" fmla="*/ 83 h 450"/>
                <a:gd name="T22" fmla="*/ 424 w 450"/>
                <a:gd name="T23" fmla="*/ 225 h 450"/>
                <a:gd name="T24" fmla="*/ 424 w 450"/>
                <a:gd name="T25" fmla="*/ 235 h 450"/>
                <a:gd name="T26" fmla="*/ 424 w 450"/>
                <a:gd name="T27" fmla="*/ 235 h 450"/>
                <a:gd name="T28" fmla="*/ 225 w 450"/>
                <a:gd name="T29" fmla="*/ 424 h 450"/>
                <a:gd name="T30" fmla="*/ 328 w 450"/>
                <a:gd name="T31" fmla="*/ 25 h 450"/>
                <a:gd name="T32" fmla="*/ 225 w 450"/>
                <a:gd name="T33" fmla="*/ 0 h 450"/>
                <a:gd name="T34" fmla="*/ 191 w 450"/>
                <a:gd name="T35" fmla="*/ 2 h 450"/>
                <a:gd name="T36" fmla="*/ 163 w 450"/>
                <a:gd name="T37" fmla="*/ 8 h 450"/>
                <a:gd name="T38" fmla="*/ 53 w 450"/>
                <a:gd name="T39" fmla="*/ 79 h 450"/>
                <a:gd name="T40" fmla="*/ 0 w 450"/>
                <a:gd name="T41" fmla="*/ 225 h 450"/>
                <a:gd name="T42" fmla="*/ 1 w 450"/>
                <a:gd name="T43" fmla="*/ 248 h 450"/>
                <a:gd name="T44" fmla="*/ 10 w 450"/>
                <a:gd name="T45" fmla="*/ 294 h 450"/>
                <a:gd name="T46" fmla="*/ 201 w 450"/>
                <a:gd name="T47" fmla="*/ 449 h 450"/>
                <a:gd name="T48" fmla="*/ 225 w 450"/>
                <a:gd name="T49" fmla="*/ 450 h 450"/>
                <a:gd name="T50" fmla="*/ 447 w 450"/>
                <a:gd name="T51" fmla="*/ 258 h 450"/>
                <a:gd name="T52" fmla="*/ 450 w 450"/>
                <a:gd name="T53" fmla="*/ 225 h 450"/>
                <a:gd name="T54" fmla="*/ 328 w 450"/>
                <a:gd name="T55" fmla="*/ 25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50" h="450">
                  <a:moveTo>
                    <a:pt x="225" y="424"/>
                  </a:moveTo>
                  <a:cubicBezTo>
                    <a:pt x="205" y="424"/>
                    <a:pt x="186" y="421"/>
                    <a:pt x="168" y="416"/>
                  </a:cubicBezTo>
                  <a:cubicBezTo>
                    <a:pt x="104" y="397"/>
                    <a:pt x="53" y="346"/>
                    <a:pt x="34" y="281"/>
                  </a:cubicBezTo>
                  <a:cubicBezTo>
                    <a:pt x="29" y="266"/>
                    <a:pt x="27" y="250"/>
                    <a:pt x="26" y="233"/>
                  </a:cubicBezTo>
                  <a:cubicBezTo>
                    <a:pt x="26" y="230"/>
                    <a:pt x="26" y="227"/>
                    <a:pt x="26" y="225"/>
                  </a:cubicBezTo>
                  <a:cubicBezTo>
                    <a:pt x="26" y="118"/>
                    <a:pt x="110" y="31"/>
                    <a:pt x="215" y="26"/>
                  </a:cubicBezTo>
                  <a:cubicBezTo>
                    <a:pt x="218" y="26"/>
                    <a:pt x="221" y="26"/>
                    <a:pt x="225" y="26"/>
                  </a:cubicBezTo>
                  <a:cubicBezTo>
                    <a:pt x="268" y="26"/>
                    <a:pt x="309" y="40"/>
                    <a:pt x="341" y="63"/>
                  </a:cubicBezTo>
                  <a:cubicBezTo>
                    <a:pt x="348" y="68"/>
                    <a:pt x="354" y="73"/>
                    <a:pt x="360" y="79"/>
                  </a:cubicBezTo>
                  <a:lnTo>
                    <a:pt x="361" y="79"/>
                  </a:lnTo>
                  <a:lnTo>
                    <a:pt x="364" y="83"/>
                  </a:lnTo>
                  <a:cubicBezTo>
                    <a:pt x="401" y="119"/>
                    <a:pt x="424" y="169"/>
                    <a:pt x="424" y="225"/>
                  </a:cubicBezTo>
                  <a:cubicBezTo>
                    <a:pt x="424" y="228"/>
                    <a:pt x="424" y="231"/>
                    <a:pt x="424" y="235"/>
                  </a:cubicBezTo>
                  <a:lnTo>
                    <a:pt x="424" y="235"/>
                  </a:lnTo>
                  <a:cubicBezTo>
                    <a:pt x="418" y="340"/>
                    <a:pt x="331" y="424"/>
                    <a:pt x="225" y="424"/>
                  </a:cubicBezTo>
                  <a:close/>
                  <a:moveTo>
                    <a:pt x="328" y="25"/>
                  </a:moveTo>
                  <a:cubicBezTo>
                    <a:pt x="297" y="9"/>
                    <a:pt x="262" y="0"/>
                    <a:pt x="225" y="0"/>
                  </a:cubicBezTo>
                  <a:cubicBezTo>
                    <a:pt x="213" y="0"/>
                    <a:pt x="202" y="0"/>
                    <a:pt x="191" y="2"/>
                  </a:cubicBezTo>
                  <a:cubicBezTo>
                    <a:pt x="182" y="3"/>
                    <a:pt x="172" y="6"/>
                    <a:pt x="163" y="8"/>
                  </a:cubicBezTo>
                  <a:cubicBezTo>
                    <a:pt x="120" y="20"/>
                    <a:pt x="82" y="45"/>
                    <a:pt x="53" y="79"/>
                  </a:cubicBezTo>
                  <a:cubicBezTo>
                    <a:pt x="20" y="118"/>
                    <a:pt x="0" y="169"/>
                    <a:pt x="0" y="225"/>
                  </a:cubicBezTo>
                  <a:cubicBezTo>
                    <a:pt x="0" y="233"/>
                    <a:pt x="0" y="240"/>
                    <a:pt x="1" y="248"/>
                  </a:cubicBezTo>
                  <a:cubicBezTo>
                    <a:pt x="2" y="264"/>
                    <a:pt x="6" y="279"/>
                    <a:pt x="10" y="294"/>
                  </a:cubicBezTo>
                  <a:cubicBezTo>
                    <a:pt x="37" y="377"/>
                    <a:pt x="112" y="439"/>
                    <a:pt x="201" y="449"/>
                  </a:cubicBezTo>
                  <a:cubicBezTo>
                    <a:pt x="209" y="450"/>
                    <a:pt x="217" y="450"/>
                    <a:pt x="225" y="450"/>
                  </a:cubicBezTo>
                  <a:cubicBezTo>
                    <a:pt x="338" y="450"/>
                    <a:pt x="431" y="367"/>
                    <a:pt x="447" y="258"/>
                  </a:cubicBezTo>
                  <a:cubicBezTo>
                    <a:pt x="449" y="247"/>
                    <a:pt x="450" y="236"/>
                    <a:pt x="450" y="225"/>
                  </a:cubicBezTo>
                  <a:cubicBezTo>
                    <a:pt x="450" y="138"/>
                    <a:pt x="400" y="62"/>
                    <a:pt x="328" y="25"/>
                  </a:cubicBezTo>
                  <a:close/>
                </a:path>
              </a:pathLst>
            </a:custGeom>
            <a:solidFill>
              <a:srgbClr val="6E87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8">
              <a:extLst>
                <a:ext uri="{FF2B5EF4-FFF2-40B4-BE49-F238E27FC236}">
                  <a16:creationId xmlns:a16="http://schemas.microsoft.com/office/drawing/2014/main" id="{1A077A73-77D9-BBA3-39BF-EE4B7D20AF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49888" y="3594100"/>
              <a:ext cx="327025" cy="331788"/>
            </a:xfrm>
            <a:custGeom>
              <a:avLst/>
              <a:gdLst>
                <a:gd name="T0" fmla="*/ 369 w 721"/>
                <a:gd name="T1" fmla="*/ 128 h 729"/>
                <a:gd name="T2" fmla="*/ 304 w 721"/>
                <a:gd name="T3" fmla="*/ 135 h 729"/>
                <a:gd name="T4" fmla="*/ 342 w 721"/>
                <a:gd name="T5" fmla="*/ 601 h 729"/>
                <a:gd name="T6" fmla="*/ 598 w 721"/>
                <a:gd name="T7" fmla="*/ 364 h 729"/>
                <a:gd name="T8" fmla="*/ 569 w 721"/>
                <a:gd name="T9" fmla="*/ 252 h 729"/>
                <a:gd name="T10" fmla="*/ 311 w 721"/>
                <a:gd name="T11" fmla="*/ 133 h 729"/>
                <a:gd name="T12" fmla="*/ 125 w 721"/>
                <a:gd name="T13" fmla="*/ 383 h 729"/>
                <a:gd name="T14" fmla="*/ 592 w 721"/>
                <a:gd name="T15" fmla="*/ 414 h 729"/>
                <a:gd name="T16" fmla="*/ 721 w 721"/>
                <a:gd name="T17" fmla="*/ 312 h 729"/>
                <a:gd name="T18" fmla="*/ 711 w 721"/>
                <a:gd name="T19" fmla="*/ 261 h 729"/>
                <a:gd name="T20" fmla="*/ 654 w 721"/>
                <a:gd name="T21" fmla="*/ 259 h 729"/>
                <a:gd name="T22" fmla="*/ 625 w 721"/>
                <a:gd name="T23" fmla="*/ 198 h 729"/>
                <a:gd name="T24" fmla="*/ 660 w 721"/>
                <a:gd name="T25" fmla="*/ 157 h 729"/>
                <a:gd name="T26" fmla="*/ 615 w 721"/>
                <a:gd name="T27" fmla="*/ 118 h 729"/>
                <a:gd name="T28" fmla="*/ 526 w 721"/>
                <a:gd name="T29" fmla="*/ 101 h 729"/>
                <a:gd name="T30" fmla="*/ 539 w 721"/>
                <a:gd name="T31" fmla="*/ 46 h 729"/>
                <a:gd name="T32" fmla="*/ 483 w 721"/>
                <a:gd name="T33" fmla="*/ 33 h 729"/>
                <a:gd name="T34" fmla="*/ 399 w 721"/>
                <a:gd name="T35" fmla="*/ 56 h 729"/>
                <a:gd name="T36" fmla="*/ 395 w 721"/>
                <a:gd name="T37" fmla="*/ 13 h 729"/>
                <a:gd name="T38" fmla="*/ 344 w 721"/>
                <a:gd name="T39" fmla="*/ 0 h 729"/>
                <a:gd name="T40" fmla="*/ 326 w 721"/>
                <a:gd name="T41" fmla="*/ 52 h 729"/>
                <a:gd name="T42" fmla="*/ 256 w 721"/>
                <a:gd name="T43" fmla="*/ 67 h 729"/>
                <a:gd name="T44" fmla="*/ 211 w 721"/>
                <a:gd name="T45" fmla="*/ 33 h 729"/>
                <a:gd name="T46" fmla="*/ 177 w 721"/>
                <a:gd name="T47" fmla="*/ 62 h 729"/>
                <a:gd name="T48" fmla="*/ 140 w 721"/>
                <a:gd name="T49" fmla="*/ 145 h 729"/>
                <a:gd name="T50" fmla="*/ 61 w 721"/>
                <a:gd name="T51" fmla="*/ 157 h 729"/>
                <a:gd name="T52" fmla="*/ 97 w 721"/>
                <a:gd name="T53" fmla="*/ 198 h 729"/>
                <a:gd name="T54" fmla="*/ 63 w 721"/>
                <a:gd name="T55" fmla="*/ 261 h 729"/>
                <a:gd name="T56" fmla="*/ 9 w 721"/>
                <a:gd name="T57" fmla="*/ 267 h 729"/>
                <a:gd name="T58" fmla="*/ 0 w 721"/>
                <a:gd name="T59" fmla="*/ 311 h 729"/>
                <a:gd name="T60" fmla="*/ 50 w 721"/>
                <a:gd name="T61" fmla="*/ 329 h 729"/>
                <a:gd name="T62" fmla="*/ 12 w 721"/>
                <a:gd name="T63" fmla="*/ 409 h 729"/>
                <a:gd name="T64" fmla="*/ 1 w 721"/>
                <a:gd name="T65" fmla="*/ 426 h 729"/>
                <a:gd name="T66" fmla="*/ 40 w 721"/>
                <a:gd name="T67" fmla="*/ 473 h 729"/>
                <a:gd name="T68" fmla="*/ 64 w 721"/>
                <a:gd name="T69" fmla="*/ 558 h 729"/>
                <a:gd name="T70" fmla="*/ 90 w 721"/>
                <a:gd name="T71" fmla="*/ 609 h 729"/>
                <a:gd name="T72" fmla="*/ 140 w 721"/>
                <a:gd name="T73" fmla="*/ 585 h 729"/>
                <a:gd name="T74" fmla="*/ 194 w 721"/>
                <a:gd name="T75" fmla="*/ 632 h 729"/>
                <a:gd name="T76" fmla="*/ 224 w 721"/>
                <a:gd name="T77" fmla="*/ 703 h 729"/>
                <a:gd name="T78" fmla="*/ 258 w 721"/>
                <a:gd name="T79" fmla="*/ 659 h 729"/>
                <a:gd name="T80" fmla="*/ 338 w 721"/>
                <a:gd name="T81" fmla="*/ 729 h 729"/>
                <a:gd name="T82" fmla="*/ 395 w 721"/>
                <a:gd name="T83" fmla="*/ 678 h 729"/>
                <a:gd name="T84" fmla="*/ 435 w 721"/>
                <a:gd name="T85" fmla="*/ 667 h 729"/>
                <a:gd name="T86" fmla="*/ 464 w 721"/>
                <a:gd name="T87" fmla="*/ 659 h 729"/>
                <a:gd name="T88" fmla="*/ 499 w 721"/>
                <a:gd name="T89" fmla="*/ 702 h 729"/>
                <a:gd name="T90" fmla="*/ 544 w 721"/>
                <a:gd name="T91" fmla="*/ 667 h 729"/>
                <a:gd name="T92" fmla="*/ 555 w 721"/>
                <a:gd name="T93" fmla="*/ 608 h 729"/>
                <a:gd name="T94" fmla="*/ 615 w 721"/>
                <a:gd name="T95" fmla="*/ 611 h 729"/>
                <a:gd name="T96" fmla="*/ 658 w 721"/>
                <a:gd name="T97" fmla="*/ 558 h 729"/>
                <a:gd name="T98" fmla="*/ 640 w 721"/>
                <a:gd name="T99" fmla="*/ 503 h 729"/>
                <a:gd name="T100" fmla="*/ 655 w 721"/>
                <a:gd name="T101" fmla="*/ 467 h 729"/>
                <a:gd name="T102" fmla="*/ 715 w 721"/>
                <a:gd name="T103" fmla="*/ 453 h 729"/>
                <a:gd name="T104" fmla="*/ 710 w 721"/>
                <a:gd name="T105" fmla="*/ 409 h 729"/>
                <a:gd name="T106" fmla="*/ 672 w 721"/>
                <a:gd name="T107" fmla="*/ 364 h 729"/>
                <a:gd name="T108" fmla="*/ 721 w 721"/>
                <a:gd name="T109" fmla="*/ 31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1" h="729">
                  <a:moveTo>
                    <a:pt x="595" y="328"/>
                  </a:moveTo>
                  <a:cubicBezTo>
                    <a:pt x="591" y="301"/>
                    <a:pt x="582" y="275"/>
                    <a:pt x="569" y="252"/>
                  </a:cubicBezTo>
                  <a:cubicBezTo>
                    <a:pt x="531" y="181"/>
                    <a:pt x="456" y="132"/>
                    <a:pt x="369" y="128"/>
                  </a:cubicBezTo>
                  <a:cubicBezTo>
                    <a:pt x="366" y="128"/>
                    <a:pt x="362" y="128"/>
                    <a:pt x="359" y="128"/>
                  </a:cubicBezTo>
                  <a:cubicBezTo>
                    <a:pt x="342" y="128"/>
                    <a:pt x="327" y="130"/>
                    <a:pt x="311" y="133"/>
                  </a:cubicBezTo>
                  <a:cubicBezTo>
                    <a:pt x="309" y="134"/>
                    <a:pt x="306" y="134"/>
                    <a:pt x="304" y="135"/>
                  </a:cubicBezTo>
                  <a:cubicBezTo>
                    <a:pt x="201" y="160"/>
                    <a:pt x="124" y="253"/>
                    <a:pt x="124" y="365"/>
                  </a:cubicBezTo>
                  <a:cubicBezTo>
                    <a:pt x="124" y="371"/>
                    <a:pt x="125" y="377"/>
                    <a:pt x="125" y="383"/>
                  </a:cubicBezTo>
                  <a:cubicBezTo>
                    <a:pt x="134" y="500"/>
                    <a:pt x="227" y="592"/>
                    <a:pt x="342" y="601"/>
                  </a:cubicBezTo>
                  <a:cubicBezTo>
                    <a:pt x="350" y="601"/>
                    <a:pt x="358" y="602"/>
                    <a:pt x="365" y="601"/>
                  </a:cubicBezTo>
                  <a:cubicBezTo>
                    <a:pt x="475" y="599"/>
                    <a:pt x="569" y="521"/>
                    <a:pt x="592" y="414"/>
                  </a:cubicBezTo>
                  <a:cubicBezTo>
                    <a:pt x="596" y="398"/>
                    <a:pt x="598" y="381"/>
                    <a:pt x="598" y="364"/>
                  </a:cubicBezTo>
                  <a:cubicBezTo>
                    <a:pt x="598" y="352"/>
                    <a:pt x="597" y="339"/>
                    <a:pt x="595" y="328"/>
                  </a:cubicBezTo>
                  <a:moveTo>
                    <a:pt x="595" y="328"/>
                  </a:moveTo>
                  <a:cubicBezTo>
                    <a:pt x="591" y="301"/>
                    <a:pt x="582" y="275"/>
                    <a:pt x="569" y="252"/>
                  </a:cubicBezTo>
                  <a:cubicBezTo>
                    <a:pt x="531" y="181"/>
                    <a:pt x="456" y="132"/>
                    <a:pt x="369" y="128"/>
                  </a:cubicBezTo>
                  <a:cubicBezTo>
                    <a:pt x="366" y="128"/>
                    <a:pt x="362" y="128"/>
                    <a:pt x="359" y="128"/>
                  </a:cubicBezTo>
                  <a:cubicBezTo>
                    <a:pt x="342" y="128"/>
                    <a:pt x="327" y="130"/>
                    <a:pt x="311" y="133"/>
                  </a:cubicBezTo>
                  <a:cubicBezTo>
                    <a:pt x="309" y="134"/>
                    <a:pt x="306" y="134"/>
                    <a:pt x="304" y="135"/>
                  </a:cubicBezTo>
                  <a:cubicBezTo>
                    <a:pt x="201" y="160"/>
                    <a:pt x="124" y="253"/>
                    <a:pt x="124" y="365"/>
                  </a:cubicBezTo>
                  <a:cubicBezTo>
                    <a:pt x="124" y="371"/>
                    <a:pt x="125" y="377"/>
                    <a:pt x="125" y="383"/>
                  </a:cubicBezTo>
                  <a:cubicBezTo>
                    <a:pt x="134" y="500"/>
                    <a:pt x="227" y="592"/>
                    <a:pt x="342" y="601"/>
                  </a:cubicBezTo>
                  <a:cubicBezTo>
                    <a:pt x="350" y="601"/>
                    <a:pt x="358" y="602"/>
                    <a:pt x="365" y="601"/>
                  </a:cubicBezTo>
                  <a:cubicBezTo>
                    <a:pt x="475" y="599"/>
                    <a:pt x="569" y="521"/>
                    <a:pt x="592" y="414"/>
                  </a:cubicBezTo>
                  <a:cubicBezTo>
                    <a:pt x="596" y="398"/>
                    <a:pt x="598" y="381"/>
                    <a:pt x="598" y="364"/>
                  </a:cubicBezTo>
                  <a:cubicBezTo>
                    <a:pt x="598" y="352"/>
                    <a:pt x="597" y="339"/>
                    <a:pt x="595" y="328"/>
                  </a:cubicBezTo>
                  <a:moveTo>
                    <a:pt x="721" y="312"/>
                  </a:moveTo>
                  <a:lnTo>
                    <a:pt x="721" y="305"/>
                  </a:lnTo>
                  <a:cubicBezTo>
                    <a:pt x="721" y="303"/>
                    <a:pt x="720" y="300"/>
                    <a:pt x="720" y="298"/>
                  </a:cubicBezTo>
                  <a:cubicBezTo>
                    <a:pt x="717" y="286"/>
                    <a:pt x="714" y="273"/>
                    <a:pt x="711" y="261"/>
                  </a:cubicBezTo>
                  <a:cubicBezTo>
                    <a:pt x="709" y="254"/>
                    <a:pt x="704" y="252"/>
                    <a:pt x="697" y="253"/>
                  </a:cubicBezTo>
                  <a:cubicBezTo>
                    <a:pt x="684" y="256"/>
                    <a:pt x="672" y="259"/>
                    <a:pt x="659" y="261"/>
                  </a:cubicBezTo>
                  <a:cubicBezTo>
                    <a:pt x="656" y="262"/>
                    <a:pt x="655" y="262"/>
                    <a:pt x="654" y="259"/>
                  </a:cubicBezTo>
                  <a:cubicBezTo>
                    <a:pt x="651" y="252"/>
                    <a:pt x="649" y="246"/>
                    <a:pt x="646" y="240"/>
                  </a:cubicBezTo>
                  <a:cubicBezTo>
                    <a:pt x="643" y="233"/>
                    <a:pt x="640" y="227"/>
                    <a:pt x="637" y="220"/>
                  </a:cubicBezTo>
                  <a:cubicBezTo>
                    <a:pt x="633" y="213"/>
                    <a:pt x="629" y="206"/>
                    <a:pt x="625" y="198"/>
                  </a:cubicBezTo>
                  <a:lnTo>
                    <a:pt x="628" y="196"/>
                  </a:lnTo>
                  <a:cubicBezTo>
                    <a:pt x="638" y="188"/>
                    <a:pt x="648" y="180"/>
                    <a:pt x="658" y="171"/>
                  </a:cubicBezTo>
                  <a:cubicBezTo>
                    <a:pt x="663" y="167"/>
                    <a:pt x="664" y="162"/>
                    <a:pt x="660" y="157"/>
                  </a:cubicBezTo>
                  <a:cubicBezTo>
                    <a:pt x="654" y="148"/>
                    <a:pt x="647" y="139"/>
                    <a:pt x="640" y="131"/>
                  </a:cubicBezTo>
                  <a:cubicBezTo>
                    <a:pt x="637" y="127"/>
                    <a:pt x="634" y="123"/>
                    <a:pt x="631" y="119"/>
                  </a:cubicBezTo>
                  <a:cubicBezTo>
                    <a:pt x="626" y="114"/>
                    <a:pt x="620" y="114"/>
                    <a:pt x="615" y="118"/>
                  </a:cubicBezTo>
                  <a:cubicBezTo>
                    <a:pt x="607" y="125"/>
                    <a:pt x="598" y="132"/>
                    <a:pt x="590" y="138"/>
                  </a:cubicBezTo>
                  <a:cubicBezTo>
                    <a:pt x="587" y="140"/>
                    <a:pt x="584" y="142"/>
                    <a:pt x="582" y="145"/>
                  </a:cubicBezTo>
                  <a:cubicBezTo>
                    <a:pt x="565" y="128"/>
                    <a:pt x="546" y="113"/>
                    <a:pt x="526" y="101"/>
                  </a:cubicBezTo>
                  <a:lnTo>
                    <a:pt x="528" y="97"/>
                  </a:lnTo>
                  <a:cubicBezTo>
                    <a:pt x="533" y="86"/>
                    <a:pt x="539" y="74"/>
                    <a:pt x="544" y="63"/>
                  </a:cubicBezTo>
                  <a:cubicBezTo>
                    <a:pt x="548" y="55"/>
                    <a:pt x="546" y="50"/>
                    <a:pt x="539" y="46"/>
                  </a:cubicBezTo>
                  <a:cubicBezTo>
                    <a:pt x="532" y="42"/>
                    <a:pt x="525" y="39"/>
                    <a:pt x="517" y="35"/>
                  </a:cubicBezTo>
                  <a:cubicBezTo>
                    <a:pt x="511" y="32"/>
                    <a:pt x="505" y="29"/>
                    <a:pt x="498" y="27"/>
                  </a:cubicBezTo>
                  <a:cubicBezTo>
                    <a:pt x="491" y="24"/>
                    <a:pt x="486" y="26"/>
                    <a:pt x="483" y="33"/>
                  </a:cubicBezTo>
                  <a:cubicBezTo>
                    <a:pt x="477" y="44"/>
                    <a:pt x="472" y="55"/>
                    <a:pt x="466" y="67"/>
                  </a:cubicBezTo>
                  <a:cubicBezTo>
                    <a:pt x="465" y="70"/>
                    <a:pt x="463" y="71"/>
                    <a:pt x="460" y="69"/>
                  </a:cubicBezTo>
                  <a:cubicBezTo>
                    <a:pt x="440" y="62"/>
                    <a:pt x="420" y="58"/>
                    <a:pt x="399" y="56"/>
                  </a:cubicBezTo>
                  <a:lnTo>
                    <a:pt x="397" y="55"/>
                  </a:lnTo>
                  <a:cubicBezTo>
                    <a:pt x="396" y="55"/>
                    <a:pt x="395" y="54"/>
                    <a:pt x="395" y="52"/>
                  </a:cubicBezTo>
                  <a:cubicBezTo>
                    <a:pt x="395" y="39"/>
                    <a:pt x="395" y="26"/>
                    <a:pt x="395" y="13"/>
                  </a:cubicBezTo>
                  <a:cubicBezTo>
                    <a:pt x="395" y="6"/>
                    <a:pt x="391" y="1"/>
                    <a:pt x="384" y="1"/>
                  </a:cubicBezTo>
                  <a:cubicBezTo>
                    <a:pt x="382" y="0"/>
                    <a:pt x="380" y="0"/>
                    <a:pt x="377" y="0"/>
                  </a:cubicBezTo>
                  <a:lnTo>
                    <a:pt x="344" y="0"/>
                  </a:lnTo>
                  <a:cubicBezTo>
                    <a:pt x="342" y="0"/>
                    <a:pt x="341" y="0"/>
                    <a:pt x="339" y="1"/>
                  </a:cubicBezTo>
                  <a:cubicBezTo>
                    <a:pt x="331" y="1"/>
                    <a:pt x="327" y="5"/>
                    <a:pt x="327" y="13"/>
                  </a:cubicBezTo>
                  <a:cubicBezTo>
                    <a:pt x="327" y="26"/>
                    <a:pt x="327" y="39"/>
                    <a:pt x="326" y="52"/>
                  </a:cubicBezTo>
                  <a:cubicBezTo>
                    <a:pt x="326" y="54"/>
                    <a:pt x="326" y="55"/>
                    <a:pt x="323" y="55"/>
                  </a:cubicBezTo>
                  <a:cubicBezTo>
                    <a:pt x="302" y="58"/>
                    <a:pt x="281" y="63"/>
                    <a:pt x="261" y="70"/>
                  </a:cubicBezTo>
                  <a:cubicBezTo>
                    <a:pt x="258" y="71"/>
                    <a:pt x="257" y="70"/>
                    <a:pt x="256" y="67"/>
                  </a:cubicBezTo>
                  <a:cubicBezTo>
                    <a:pt x="250" y="56"/>
                    <a:pt x="244" y="45"/>
                    <a:pt x="239" y="33"/>
                  </a:cubicBezTo>
                  <a:cubicBezTo>
                    <a:pt x="236" y="26"/>
                    <a:pt x="229" y="24"/>
                    <a:pt x="224" y="27"/>
                  </a:cubicBezTo>
                  <a:cubicBezTo>
                    <a:pt x="219" y="29"/>
                    <a:pt x="215" y="31"/>
                    <a:pt x="211" y="33"/>
                  </a:cubicBezTo>
                  <a:cubicBezTo>
                    <a:pt x="206" y="35"/>
                    <a:pt x="201" y="37"/>
                    <a:pt x="196" y="40"/>
                  </a:cubicBezTo>
                  <a:cubicBezTo>
                    <a:pt x="192" y="42"/>
                    <a:pt x="187" y="44"/>
                    <a:pt x="182" y="47"/>
                  </a:cubicBezTo>
                  <a:cubicBezTo>
                    <a:pt x="176" y="50"/>
                    <a:pt x="174" y="56"/>
                    <a:pt x="177" y="62"/>
                  </a:cubicBezTo>
                  <a:cubicBezTo>
                    <a:pt x="182" y="72"/>
                    <a:pt x="187" y="82"/>
                    <a:pt x="191" y="92"/>
                  </a:cubicBezTo>
                  <a:cubicBezTo>
                    <a:pt x="193" y="95"/>
                    <a:pt x="194" y="98"/>
                    <a:pt x="195" y="101"/>
                  </a:cubicBezTo>
                  <a:cubicBezTo>
                    <a:pt x="175" y="113"/>
                    <a:pt x="157" y="128"/>
                    <a:pt x="140" y="145"/>
                  </a:cubicBezTo>
                  <a:cubicBezTo>
                    <a:pt x="129" y="136"/>
                    <a:pt x="118" y="127"/>
                    <a:pt x="107" y="118"/>
                  </a:cubicBezTo>
                  <a:cubicBezTo>
                    <a:pt x="101" y="114"/>
                    <a:pt x="95" y="114"/>
                    <a:pt x="91" y="119"/>
                  </a:cubicBezTo>
                  <a:cubicBezTo>
                    <a:pt x="81" y="131"/>
                    <a:pt x="71" y="144"/>
                    <a:pt x="61" y="157"/>
                  </a:cubicBezTo>
                  <a:cubicBezTo>
                    <a:pt x="58" y="162"/>
                    <a:pt x="59" y="167"/>
                    <a:pt x="64" y="171"/>
                  </a:cubicBezTo>
                  <a:cubicBezTo>
                    <a:pt x="74" y="180"/>
                    <a:pt x="84" y="188"/>
                    <a:pt x="94" y="196"/>
                  </a:cubicBezTo>
                  <a:lnTo>
                    <a:pt x="97" y="198"/>
                  </a:lnTo>
                  <a:cubicBezTo>
                    <a:pt x="91" y="209"/>
                    <a:pt x="85" y="219"/>
                    <a:pt x="80" y="230"/>
                  </a:cubicBezTo>
                  <a:cubicBezTo>
                    <a:pt x="75" y="240"/>
                    <a:pt x="71" y="251"/>
                    <a:pt x="66" y="262"/>
                  </a:cubicBezTo>
                  <a:lnTo>
                    <a:pt x="63" y="261"/>
                  </a:lnTo>
                  <a:cubicBezTo>
                    <a:pt x="50" y="259"/>
                    <a:pt x="38" y="256"/>
                    <a:pt x="25" y="253"/>
                  </a:cubicBezTo>
                  <a:cubicBezTo>
                    <a:pt x="18" y="252"/>
                    <a:pt x="13" y="254"/>
                    <a:pt x="11" y="262"/>
                  </a:cubicBezTo>
                  <a:cubicBezTo>
                    <a:pt x="10" y="264"/>
                    <a:pt x="10" y="265"/>
                    <a:pt x="9" y="267"/>
                  </a:cubicBezTo>
                  <a:cubicBezTo>
                    <a:pt x="8" y="271"/>
                    <a:pt x="7" y="274"/>
                    <a:pt x="7" y="277"/>
                  </a:cubicBezTo>
                  <a:cubicBezTo>
                    <a:pt x="4" y="287"/>
                    <a:pt x="2" y="297"/>
                    <a:pt x="0" y="306"/>
                  </a:cubicBezTo>
                  <a:lnTo>
                    <a:pt x="0" y="311"/>
                  </a:lnTo>
                  <a:cubicBezTo>
                    <a:pt x="2" y="317"/>
                    <a:pt x="6" y="319"/>
                    <a:pt x="12" y="320"/>
                  </a:cubicBezTo>
                  <a:cubicBezTo>
                    <a:pt x="19" y="322"/>
                    <a:pt x="26" y="324"/>
                    <a:pt x="33" y="325"/>
                  </a:cubicBezTo>
                  <a:cubicBezTo>
                    <a:pt x="39" y="327"/>
                    <a:pt x="45" y="328"/>
                    <a:pt x="50" y="329"/>
                  </a:cubicBezTo>
                  <a:lnTo>
                    <a:pt x="50" y="400"/>
                  </a:lnTo>
                  <a:lnTo>
                    <a:pt x="47" y="401"/>
                  </a:lnTo>
                  <a:cubicBezTo>
                    <a:pt x="36" y="404"/>
                    <a:pt x="24" y="407"/>
                    <a:pt x="12" y="409"/>
                  </a:cubicBezTo>
                  <a:cubicBezTo>
                    <a:pt x="6" y="410"/>
                    <a:pt x="2" y="413"/>
                    <a:pt x="0" y="418"/>
                  </a:cubicBezTo>
                  <a:lnTo>
                    <a:pt x="0" y="424"/>
                  </a:lnTo>
                  <a:lnTo>
                    <a:pt x="1" y="426"/>
                  </a:lnTo>
                  <a:cubicBezTo>
                    <a:pt x="4" y="440"/>
                    <a:pt x="7" y="454"/>
                    <a:pt x="11" y="467"/>
                  </a:cubicBezTo>
                  <a:cubicBezTo>
                    <a:pt x="13" y="475"/>
                    <a:pt x="17" y="478"/>
                    <a:pt x="26" y="476"/>
                  </a:cubicBezTo>
                  <a:cubicBezTo>
                    <a:pt x="30" y="475"/>
                    <a:pt x="35" y="474"/>
                    <a:pt x="40" y="473"/>
                  </a:cubicBezTo>
                  <a:cubicBezTo>
                    <a:pt x="49" y="471"/>
                    <a:pt x="58" y="469"/>
                    <a:pt x="66" y="467"/>
                  </a:cubicBezTo>
                  <a:cubicBezTo>
                    <a:pt x="74" y="490"/>
                    <a:pt x="85" y="511"/>
                    <a:pt x="97" y="531"/>
                  </a:cubicBezTo>
                  <a:cubicBezTo>
                    <a:pt x="86" y="540"/>
                    <a:pt x="75" y="549"/>
                    <a:pt x="64" y="558"/>
                  </a:cubicBezTo>
                  <a:cubicBezTo>
                    <a:pt x="59" y="562"/>
                    <a:pt x="58" y="568"/>
                    <a:pt x="62" y="573"/>
                  </a:cubicBezTo>
                  <a:cubicBezTo>
                    <a:pt x="63" y="576"/>
                    <a:pt x="65" y="578"/>
                    <a:pt x="66" y="580"/>
                  </a:cubicBezTo>
                  <a:cubicBezTo>
                    <a:pt x="74" y="590"/>
                    <a:pt x="82" y="600"/>
                    <a:pt x="90" y="609"/>
                  </a:cubicBezTo>
                  <a:cubicBezTo>
                    <a:pt x="95" y="615"/>
                    <a:pt x="101" y="616"/>
                    <a:pt x="107" y="611"/>
                  </a:cubicBezTo>
                  <a:cubicBezTo>
                    <a:pt x="111" y="608"/>
                    <a:pt x="115" y="605"/>
                    <a:pt x="119" y="602"/>
                  </a:cubicBezTo>
                  <a:cubicBezTo>
                    <a:pt x="126" y="596"/>
                    <a:pt x="133" y="591"/>
                    <a:pt x="140" y="585"/>
                  </a:cubicBezTo>
                  <a:cubicBezTo>
                    <a:pt x="149" y="593"/>
                    <a:pt x="158" y="601"/>
                    <a:pt x="167" y="608"/>
                  </a:cubicBezTo>
                  <a:cubicBezTo>
                    <a:pt x="176" y="616"/>
                    <a:pt x="185" y="622"/>
                    <a:pt x="195" y="629"/>
                  </a:cubicBezTo>
                  <a:lnTo>
                    <a:pt x="194" y="632"/>
                  </a:lnTo>
                  <a:cubicBezTo>
                    <a:pt x="188" y="644"/>
                    <a:pt x="183" y="656"/>
                    <a:pt x="177" y="667"/>
                  </a:cubicBezTo>
                  <a:cubicBezTo>
                    <a:pt x="174" y="674"/>
                    <a:pt x="176" y="679"/>
                    <a:pt x="181" y="682"/>
                  </a:cubicBezTo>
                  <a:cubicBezTo>
                    <a:pt x="195" y="689"/>
                    <a:pt x="210" y="696"/>
                    <a:pt x="224" y="703"/>
                  </a:cubicBezTo>
                  <a:cubicBezTo>
                    <a:pt x="230" y="706"/>
                    <a:pt x="236" y="703"/>
                    <a:pt x="239" y="697"/>
                  </a:cubicBezTo>
                  <a:cubicBezTo>
                    <a:pt x="242" y="690"/>
                    <a:pt x="246" y="683"/>
                    <a:pt x="249" y="676"/>
                  </a:cubicBezTo>
                  <a:cubicBezTo>
                    <a:pt x="252" y="671"/>
                    <a:pt x="255" y="665"/>
                    <a:pt x="258" y="659"/>
                  </a:cubicBezTo>
                  <a:cubicBezTo>
                    <a:pt x="280" y="667"/>
                    <a:pt x="303" y="672"/>
                    <a:pt x="327" y="675"/>
                  </a:cubicBezTo>
                  <a:lnTo>
                    <a:pt x="327" y="716"/>
                  </a:lnTo>
                  <a:cubicBezTo>
                    <a:pt x="327" y="724"/>
                    <a:pt x="330" y="728"/>
                    <a:pt x="338" y="729"/>
                  </a:cubicBezTo>
                  <a:cubicBezTo>
                    <a:pt x="353" y="729"/>
                    <a:pt x="369" y="729"/>
                    <a:pt x="384" y="729"/>
                  </a:cubicBezTo>
                  <a:cubicBezTo>
                    <a:pt x="392" y="728"/>
                    <a:pt x="395" y="724"/>
                    <a:pt x="395" y="717"/>
                  </a:cubicBezTo>
                  <a:cubicBezTo>
                    <a:pt x="395" y="704"/>
                    <a:pt x="395" y="691"/>
                    <a:pt x="395" y="678"/>
                  </a:cubicBezTo>
                  <a:lnTo>
                    <a:pt x="395" y="675"/>
                  </a:lnTo>
                  <a:cubicBezTo>
                    <a:pt x="402" y="674"/>
                    <a:pt x="408" y="673"/>
                    <a:pt x="414" y="672"/>
                  </a:cubicBezTo>
                  <a:cubicBezTo>
                    <a:pt x="421" y="671"/>
                    <a:pt x="428" y="669"/>
                    <a:pt x="435" y="667"/>
                  </a:cubicBezTo>
                  <a:cubicBezTo>
                    <a:pt x="438" y="667"/>
                    <a:pt x="441" y="666"/>
                    <a:pt x="444" y="665"/>
                  </a:cubicBezTo>
                  <a:cubicBezTo>
                    <a:pt x="448" y="664"/>
                    <a:pt x="451" y="663"/>
                    <a:pt x="454" y="662"/>
                  </a:cubicBezTo>
                  <a:cubicBezTo>
                    <a:pt x="458" y="661"/>
                    <a:pt x="461" y="660"/>
                    <a:pt x="464" y="659"/>
                  </a:cubicBezTo>
                  <a:lnTo>
                    <a:pt x="466" y="662"/>
                  </a:lnTo>
                  <a:cubicBezTo>
                    <a:pt x="471" y="673"/>
                    <a:pt x="477" y="685"/>
                    <a:pt x="483" y="696"/>
                  </a:cubicBezTo>
                  <a:cubicBezTo>
                    <a:pt x="486" y="704"/>
                    <a:pt x="491" y="706"/>
                    <a:pt x="499" y="702"/>
                  </a:cubicBezTo>
                  <a:cubicBezTo>
                    <a:pt x="506" y="700"/>
                    <a:pt x="513" y="697"/>
                    <a:pt x="519" y="694"/>
                  </a:cubicBezTo>
                  <a:cubicBezTo>
                    <a:pt x="526" y="690"/>
                    <a:pt x="533" y="687"/>
                    <a:pt x="539" y="683"/>
                  </a:cubicBezTo>
                  <a:cubicBezTo>
                    <a:pt x="546" y="679"/>
                    <a:pt x="548" y="674"/>
                    <a:pt x="544" y="667"/>
                  </a:cubicBezTo>
                  <a:cubicBezTo>
                    <a:pt x="543" y="664"/>
                    <a:pt x="542" y="661"/>
                    <a:pt x="540" y="658"/>
                  </a:cubicBezTo>
                  <a:cubicBezTo>
                    <a:pt x="536" y="649"/>
                    <a:pt x="531" y="639"/>
                    <a:pt x="527" y="629"/>
                  </a:cubicBezTo>
                  <a:cubicBezTo>
                    <a:pt x="536" y="622"/>
                    <a:pt x="546" y="616"/>
                    <a:pt x="555" y="608"/>
                  </a:cubicBezTo>
                  <a:cubicBezTo>
                    <a:pt x="564" y="601"/>
                    <a:pt x="573" y="593"/>
                    <a:pt x="582" y="585"/>
                  </a:cubicBezTo>
                  <a:lnTo>
                    <a:pt x="585" y="588"/>
                  </a:lnTo>
                  <a:cubicBezTo>
                    <a:pt x="595" y="595"/>
                    <a:pt x="605" y="603"/>
                    <a:pt x="615" y="611"/>
                  </a:cubicBezTo>
                  <a:cubicBezTo>
                    <a:pt x="621" y="615"/>
                    <a:pt x="626" y="615"/>
                    <a:pt x="631" y="610"/>
                  </a:cubicBezTo>
                  <a:cubicBezTo>
                    <a:pt x="641" y="598"/>
                    <a:pt x="651" y="586"/>
                    <a:pt x="660" y="573"/>
                  </a:cubicBezTo>
                  <a:cubicBezTo>
                    <a:pt x="664" y="568"/>
                    <a:pt x="663" y="562"/>
                    <a:pt x="658" y="558"/>
                  </a:cubicBezTo>
                  <a:cubicBezTo>
                    <a:pt x="648" y="550"/>
                    <a:pt x="637" y="541"/>
                    <a:pt x="627" y="533"/>
                  </a:cubicBezTo>
                  <a:lnTo>
                    <a:pt x="625" y="531"/>
                  </a:lnTo>
                  <a:cubicBezTo>
                    <a:pt x="630" y="522"/>
                    <a:pt x="636" y="512"/>
                    <a:pt x="640" y="503"/>
                  </a:cubicBezTo>
                  <a:cubicBezTo>
                    <a:pt x="643" y="498"/>
                    <a:pt x="645" y="494"/>
                    <a:pt x="647" y="489"/>
                  </a:cubicBezTo>
                  <a:cubicBezTo>
                    <a:pt x="649" y="484"/>
                    <a:pt x="651" y="479"/>
                    <a:pt x="653" y="475"/>
                  </a:cubicBezTo>
                  <a:cubicBezTo>
                    <a:pt x="654" y="472"/>
                    <a:pt x="654" y="470"/>
                    <a:pt x="655" y="467"/>
                  </a:cubicBezTo>
                  <a:cubicBezTo>
                    <a:pt x="669" y="470"/>
                    <a:pt x="683" y="473"/>
                    <a:pt x="697" y="476"/>
                  </a:cubicBezTo>
                  <a:cubicBezTo>
                    <a:pt x="704" y="478"/>
                    <a:pt x="709" y="475"/>
                    <a:pt x="711" y="468"/>
                  </a:cubicBezTo>
                  <a:cubicBezTo>
                    <a:pt x="712" y="463"/>
                    <a:pt x="714" y="458"/>
                    <a:pt x="715" y="453"/>
                  </a:cubicBezTo>
                  <a:cubicBezTo>
                    <a:pt x="717" y="444"/>
                    <a:pt x="719" y="434"/>
                    <a:pt x="721" y="424"/>
                  </a:cubicBezTo>
                  <a:lnTo>
                    <a:pt x="721" y="417"/>
                  </a:lnTo>
                  <a:cubicBezTo>
                    <a:pt x="719" y="413"/>
                    <a:pt x="715" y="410"/>
                    <a:pt x="710" y="409"/>
                  </a:cubicBezTo>
                  <a:cubicBezTo>
                    <a:pt x="702" y="408"/>
                    <a:pt x="693" y="405"/>
                    <a:pt x="685" y="403"/>
                  </a:cubicBezTo>
                  <a:cubicBezTo>
                    <a:pt x="680" y="402"/>
                    <a:pt x="675" y="401"/>
                    <a:pt x="671" y="400"/>
                  </a:cubicBezTo>
                  <a:cubicBezTo>
                    <a:pt x="672" y="388"/>
                    <a:pt x="672" y="376"/>
                    <a:pt x="672" y="364"/>
                  </a:cubicBezTo>
                  <a:cubicBezTo>
                    <a:pt x="672" y="353"/>
                    <a:pt x="672" y="341"/>
                    <a:pt x="671" y="329"/>
                  </a:cubicBezTo>
                  <a:cubicBezTo>
                    <a:pt x="684" y="326"/>
                    <a:pt x="697" y="323"/>
                    <a:pt x="710" y="320"/>
                  </a:cubicBezTo>
                  <a:cubicBezTo>
                    <a:pt x="715" y="319"/>
                    <a:pt x="719" y="317"/>
                    <a:pt x="721" y="312"/>
                  </a:cubicBez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9">
              <a:extLst>
                <a:ext uri="{FF2B5EF4-FFF2-40B4-BE49-F238E27FC236}">
                  <a16:creationId xmlns:a16="http://schemas.microsoft.com/office/drawing/2014/main" id="{F4789956-0B17-0E5B-0A5E-DC932E794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45125" y="3608388"/>
              <a:ext cx="296863" cy="307975"/>
            </a:xfrm>
            <a:custGeom>
              <a:avLst/>
              <a:gdLst>
                <a:gd name="T0" fmla="*/ 16 w 655"/>
                <a:gd name="T1" fmla="*/ 220 h 673"/>
                <a:gd name="T2" fmla="*/ 54 w 655"/>
                <a:gd name="T3" fmla="*/ 228 h 673"/>
                <a:gd name="T4" fmla="*/ 57 w 655"/>
                <a:gd name="T5" fmla="*/ 229 h 673"/>
                <a:gd name="T6" fmla="*/ 71 w 655"/>
                <a:gd name="T7" fmla="*/ 197 h 673"/>
                <a:gd name="T8" fmla="*/ 88 w 655"/>
                <a:gd name="T9" fmla="*/ 165 h 673"/>
                <a:gd name="T10" fmla="*/ 85 w 655"/>
                <a:gd name="T11" fmla="*/ 163 h 673"/>
                <a:gd name="T12" fmla="*/ 55 w 655"/>
                <a:gd name="T13" fmla="*/ 138 h 673"/>
                <a:gd name="T14" fmla="*/ 53 w 655"/>
                <a:gd name="T15" fmla="*/ 124 h 673"/>
                <a:gd name="T16" fmla="*/ 82 w 655"/>
                <a:gd name="T17" fmla="*/ 86 h 673"/>
                <a:gd name="T18" fmla="*/ 98 w 655"/>
                <a:gd name="T19" fmla="*/ 85 h 673"/>
                <a:gd name="T20" fmla="*/ 131 w 655"/>
                <a:gd name="T21" fmla="*/ 112 h 673"/>
                <a:gd name="T22" fmla="*/ 186 w 655"/>
                <a:gd name="T23" fmla="*/ 68 h 673"/>
                <a:gd name="T24" fmla="*/ 182 w 655"/>
                <a:gd name="T25" fmla="*/ 59 h 673"/>
                <a:gd name="T26" fmla="*/ 168 w 655"/>
                <a:gd name="T27" fmla="*/ 29 h 673"/>
                <a:gd name="T28" fmla="*/ 173 w 655"/>
                <a:gd name="T29" fmla="*/ 14 h 673"/>
                <a:gd name="T30" fmla="*/ 202 w 655"/>
                <a:gd name="T31" fmla="*/ 0 h 673"/>
                <a:gd name="T32" fmla="*/ 644 w 655"/>
                <a:gd name="T33" fmla="*/ 441 h 673"/>
                <a:gd name="T34" fmla="*/ 616 w 655"/>
                <a:gd name="T35" fmla="*/ 498 h 673"/>
                <a:gd name="T36" fmla="*/ 618 w 655"/>
                <a:gd name="T37" fmla="*/ 500 h 673"/>
                <a:gd name="T38" fmla="*/ 649 w 655"/>
                <a:gd name="T39" fmla="*/ 525 h 673"/>
                <a:gd name="T40" fmla="*/ 651 w 655"/>
                <a:gd name="T41" fmla="*/ 540 h 673"/>
                <a:gd name="T42" fmla="*/ 622 w 655"/>
                <a:gd name="T43" fmla="*/ 577 h 673"/>
                <a:gd name="T44" fmla="*/ 606 w 655"/>
                <a:gd name="T45" fmla="*/ 578 h 673"/>
                <a:gd name="T46" fmla="*/ 576 w 655"/>
                <a:gd name="T47" fmla="*/ 555 h 673"/>
                <a:gd name="T48" fmla="*/ 573 w 655"/>
                <a:gd name="T49" fmla="*/ 552 h 673"/>
                <a:gd name="T50" fmla="*/ 546 w 655"/>
                <a:gd name="T51" fmla="*/ 575 h 673"/>
                <a:gd name="T52" fmla="*/ 518 w 655"/>
                <a:gd name="T53" fmla="*/ 596 h 673"/>
                <a:gd name="T54" fmla="*/ 531 w 655"/>
                <a:gd name="T55" fmla="*/ 625 h 673"/>
                <a:gd name="T56" fmla="*/ 535 w 655"/>
                <a:gd name="T57" fmla="*/ 634 h 673"/>
                <a:gd name="T58" fmla="*/ 531 w 655"/>
                <a:gd name="T59" fmla="*/ 650 h 673"/>
                <a:gd name="T60" fmla="*/ 510 w 655"/>
                <a:gd name="T61" fmla="*/ 661 h 673"/>
                <a:gd name="T62" fmla="*/ 490 w 655"/>
                <a:gd name="T63" fmla="*/ 669 h 673"/>
                <a:gd name="T64" fmla="*/ 474 w 655"/>
                <a:gd name="T65" fmla="*/ 663 h 673"/>
                <a:gd name="T66" fmla="*/ 457 w 655"/>
                <a:gd name="T67" fmla="*/ 629 h 673"/>
                <a:gd name="T68" fmla="*/ 455 w 655"/>
                <a:gd name="T69" fmla="*/ 626 h 673"/>
                <a:gd name="T70" fmla="*/ 405 w 655"/>
                <a:gd name="T71" fmla="*/ 639 h 673"/>
                <a:gd name="T72" fmla="*/ 0 w 655"/>
                <a:gd name="T73" fmla="*/ 234 h 673"/>
                <a:gd name="T74" fmla="*/ 2 w 655"/>
                <a:gd name="T75" fmla="*/ 229 h 673"/>
                <a:gd name="T76" fmla="*/ 16 w 655"/>
                <a:gd name="T77" fmla="*/ 22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5" h="673">
                  <a:moveTo>
                    <a:pt x="16" y="220"/>
                  </a:moveTo>
                  <a:cubicBezTo>
                    <a:pt x="29" y="223"/>
                    <a:pt x="41" y="226"/>
                    <a:pt x="54" y="228"/>
                  </a:cubicBezTo>
                  <a:lnTo>
                    <a:pt x="57" y="229"/>
                  </a:lnTo>
                  <a:cubicBezTo>
                    <a:pt x="62" y="218"/>
                    <a:pt x="66" y="207"/>
                    <a:pt x="71" y="197"/>
                  </a:cubicBezTo>
                  <a:cubicBezTo>
                    <a:pt x="76" y="186"/>
                    <a:pt x="82" y="176"/>
                    <a:pt x="88" y="165"/>
                  </a:cubicBezTo>
                  <a:lnTo>
                    <a:pt x="85" y="163"/>
                  </a:lnTo>
                  <a:cubicBezTo>
                    <a:pt x="75" y="155"/>
                    <a:pt x="65" y="147"/>
                    <a:pt x="55" y="138"/>
                  </a:cubicBezTo>
                  <a:cubicBezTo>
                    <a:pt x="50" y="134"/>
                    <a:pt x="49" y="129"/>
                    <a:pt x="53" y="124"/>
                  </a:cubicBezTo>
                  <a:cubicBezTo>
                    <a:pt x="62" y="111"/>
                    <a:pt x="72" y="98"/>
                    <a:pt x="82" y="86"/>
                  </a:cubicBezTo>
                  <a:cubicBezTo>
                    <a:pt x="86" y="81"/>
                    <a:pt x="92" y="81"/>
                    <a:pt x="98" y="85"/>
                  </a:cubicBezTo>
                  <a:cubicBezTo>
                    <a:pt x="109" y="94"/>
                    <a:pt x="120" y="103"/>
                    <a:pt x="131" y="112"/>
                  </a:cubicBezTo>
                  <a:cubicBezTo>
                    <a:pt x="148" y="95"/>
                    <a:pt x="166" y="80"/>
                    <a:pt x="186" y="68"/>
                  </a:cubicBezTo>
                  <a:cubicBezTo>
                    <a:pt x="185" y="65"/>
                    <a:pt x="184" y="62"/>
                    <a:pt x="182" y="59"/>
                  </a:cubicBezTo>
                  <a:cubicBezTo>
                    <a:pt x="178" y="49"/>
                    <a:pt x="173" y="39"/>
                    <a:pt x="168" y="29"/>
                  </a:cubicBezTo>
                  <a:cubicBezTo>
                    <a:pt x="165" y="23"/>
                    <a:pt x="167" y="17"/>
                    <a:pt x="173" y="14"/>
                  </a:cubicBezTo>
                  <a:cubicBezTo>
                    <a:pt x="183" y="9"/>
                    <a:pt x="192" y="4"/>
                    <a:pt x="202" y="0"/>
                  </a:cubicBezTo>
                  <a:lnTo>
                    <a:pt x="644" y="441"/>
                  </a:lnTo>
                  <a:cubicBezTo>
                    <a:pt x="636" y="461"/>
                    <a:pt x="627" y="480"/>
                    <a:pt x="616" y="498"/>
                  </a:cubicBezTo>
                  <a:lnTo>
                    <a:pt x="618" y="500"/>
                  </a:lnTo>
                  <a:cubicBezTo>
                    <a:pt x="629" y="508"/>
                    <a:pt x="639" y="517"/>
                    <a:pt x="649" y="525"/>
                  </a:cubicBezTo>
                  <a:cubicBezTo>
                    <a:pt x="654" y="529"/>
                    <a:pt x="655" y="535"/>
                    <a:pt x="651" y="540"/>
                  </a:cubicBezTo>
                  <a:cubicBezTo>
                    <a:pt x="642" y="552"/>
                    <a:pt x="632" y="565"/>
                    <a:pt x="622" y="577"/>
                  </a:cubicBezTo>
                  <a:cubicBezTo>
                    <a:pt x="617" y="582"/>
                    <a:pt x="612" y="582"/>
                    <a:pt x="606" y="578"/>
                  </a:cubicBezTo>
                  <a:cubicBezTo>
                    <a:pt x="596" y="570"/>
                    <a:pt x="586" y="562"/>
                    <a:pt x="576" y="555"/>
                  </a:cubicBezTo>
                  <a:lnTo>
                    <a:pt x="573" y="552"/>
                  </a:lnTo>
                  <a:cubicBezTo>
                    <a:pt x="564" y="560"/>
                    <a:pt x="555" y="568"/>
                    <a:pt x="546" y="575"/>
                  </a:cubicBezTo>
                  <a:cubicBezTo>
                    <a:pt x="537" y="583"/>
                    <a:pt x="527" y="589"/>
                    <a:pt x="518" y="596"/>
                  </a:cubicBezTo>
                  <a:cubicBezTo>
                    <a:pt x="522" y="606"/>
                    <a:pt x="527" y="615"/>
                    <a:pt x="531" y="625"/>
                  </a:cubicBezTo>
                  <a:cubicBezTo>
                    <a:pt x="533" y="628"/>
                    <a:pt x="534" y="631"/>
                    <a:pt x="535" y="634"/>
                  </a:cubicBezTo>
                  <a:cubicBezTo>
                    <a:pt x="539" y="641"/>
                    <a:pt x="537" y="646"/>
                    <a:pt x="531" y="650"/>
                  </a:cubicBezTo>
                  <a:cubicBezTo>
                    <a:pt x="524" y="654"/>
                    <a:pt x="517" y="657"/>
                    <a:pt x="510" y="661"/>
                  </a:cubicBezTo>
                  <a:cubicBezTo>
                    <a:pt x="504" y="664"/>
                    <a:pt x="497" y="667"/>
                    <a:pt x="490" y="669"/>
                  </a:cubicBezTo>
                  <a:cubicBezTo>
                    <a:pt x="482" y="673"/>
                    <a:pt x="477" y="671"/>
                    <a:pt x="474" y="663"/>
                  </a:cubicBezTo>
                  <a:cubicBezTo>
                    <a:pt x="468" y="652"/>
                    <a:pt x="462" y="640"/>
                    <a:pt x="457" y="629"/>
                  </a:cubicBezTo>
                  <a:lnTo>
                    <a:pt x="455" y="626"/>
                  </a:lnTo>
                  <a:cubicBezTo>
                    <a:pt x="439" y="632"/>
                    <a:pt x="422" y="636"/>
                    <a:pt x="405" y="639"/>
                  </a:cubicBezTo>
                  <a:lnTo>
                    <a:pt x="0" y="234"/>
                  </a:lnTo>
                  <a:cubicBezTo>
                    <a:pt x="1" y="232"/>
                    <a:pt x="1" y="230"/>
                    <a:pt x="2" y="229"/>
                  </a:cubicBezTo>
                  <a:cubicBezTo>
                    <a:pt x="4" y="221"/>
                    <a:pt x="9" y="219"/>
                    <a:pt x="16" y="220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40">
              <a:extLst>
                <a:ext uri="{FF2B5EF4-FFF2-40B4-BE49-F238E27FC236}">
                  <a16:creationId xmlns:a16="http://schemas.microsoft.com/office/drawing/2014/main" id="{FC39840D-CB11-EB59-86CA-6DA8FEB14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87975" y="3657600"/>
              <a:ext cx="203200" cy="204788"/>
            </a:xfrm>
            <a:custGeom>
              <a:avLst/>
              <a:gdLst>
                <a:gd name="T0" fmla="*/ 449 w 450"/>
                <a:gd name="T1" fmla="*/ 206 h 451"/>
                <a:gd name="T2" fmla="*/ 449 w 450"/>
                <a:gd name="T3" fmla="*/ 206 h 451"/>
                <a:gd name="T4" fmla="*/ 426 w 450"/>
                <a:gd name="T5" fmla="*/ 125 h 451"/>
                <a:gd name="T6" fmla="*/ 229 w 450"/>
                <a:gd name="T7" fmla="*/ 0 h 451"/>
                <a:gd name="T8" fmla="*/ 225 w 450"/>
                <a:gd name="T9" fmla="*/ 0 h 451"/>
                <a:gd name="T10" fmla="*/ 185 w 450"/>
                <a:gd name="T11" fmla="*/ 4 h 451"/>
                <a:gd name="T12" fmla="*/ 163 w 450"/>
                <a:gd name="T13" fmla="*/ 9 h 451"/>
                <a:gd name="T14" fmla="*/ 0 w 450"/>
                <a:gd name="T15" fmla="*/ 225 h 451"/>
                <a:gd name="T16" fmla="*/ 2 w 450"/>
                <a:gd name="T17" fmla="*/ 257 h 451"/>
                <a:gd name="T18" fmla="*/ 193 w 450"/>
                <a:gd name="T19" fmla="*/ 448 h 451"/>
                <a:gd name="T20" fmla="*/ 225 w 450"/>
                <a:gd name="T21" fmla="*/ 451 h 451"/>
                <a:gd name="T22" fmla="*/ 446 w 450"/>
                <a:gd name="T23" fmla="*/ 265 h 451"/>
                <a:gd name="T24" fmla="*/ 450 w 450"/>
                <a:gd name="T25" fmla="*/ 225 h 451"/>
                <a:gd name="T26" fmla="*/ 449 w 450"/>
                <a:gd name="T27" fmla="*/ 20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0" h="451">
                  <a:moveTo>
                    <a:pt x="449" y="206"/>
                  </a:moveTo>
                  <a:lnTo>
                    <a:pt x="449" y="206"/>
                  </a:lnTo>
                  <a:cubicBezTo>
                    <a:pt x="447" y="177"/>
                    <a:pt x="439" y="150"/>
                    <a:pt x="426" y="125"/>
                  </a:cubicBezTo>
                  <a:cubicBezTo>
                    <a:pt x="390" y="52"/>
                    <a:pt x="315" y="2"/>
                    <a:pt x="229" y="0"/>
                  </a:cubicBezTo>
                  <a:lnTo>
                    <a:pt x="225" y="0"/>
                  </a:lnTo>
                  <a:cubicBezTo>
                    <a:pt x="211" y="0"/>
                    <a:pt x="198" y="1"/>
                    <a:pt x="185" y="4"/>
                  </a:cubicBezTo>
                  <a:cubicBezTo>
                    <a:pt x="178" y="5"/>
                    <a:pt x="170" y="7"/>
                    <a:pt x="163" y="9"/>
                  </a:cubicBezTo>
                  <a:cubicBezTo>
                    <a:pt x="69" y="36"/>
                    <a:pt x="0" y="122"/>
                    <a:pt x="0" y="225"/>
                  </a:cubicBezTo>
                  <a:cubicBezTo>
                    <a:pt x="0" y="236"/>
                    <a:pt x="0" y="247"/>
                    <a:pt x="2" y="257"/>
                  </a:cubicBezTo>
                  <a:cubicBezTo>
                    <a:pt x="16" y="356"/>
                    <a:pt x="94" y="434"/>
                    <a:pt x="193" y="448"/>
                  </a:cubicBezTo>
                  <a:cubicBezTo>
                    <a:pt x="203" y="450"/>
                    <a:pt x="214" y="451"/>
                    <a:pt x="225" y="451"/>
                  </a:cubicBezTo>
                  <a:cubicBezTo>
                    <a:pt x="335" y="451"/>
                    <a:pt x="428" y="371"/>
                    <a:pt x="446" y="265"/>
                  </a:cubicBezTo>
                  <a:cubicBezTo>
                    <a:pt x="449" y="252"/>
                    <a:pt x="450" y="239"/>
                    <a:pt x="450" y="225"/>
                  </a:cubicBezTo>
                  <a:cubicBezTo>
                    <a:pt x="450" y="219"/>
                    <a:pt x="450" y="212"/>
                    <a:pt x="449" y="206"/>
                  </a:cubicBezTo>
                </a:path>
              </a:pathLst>
            </a:custGeom>
            <a:solidFill>
              <a:srgbClr val="79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41">
              <a:extLst>
                <a:ext uri="{FF2B5EF4-FFF2-40B4-BE49-F238E27FC236}">
                  <a16:creationId xmlns:a16="http://schemas.microsoft.com/office/drawing/2014/main" id="{4F751479-F837-A5F8-331C-BBB7B6473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53013" y="2335212"/>
              <a:ext cx="784225" cy="787400"/>
            </a:xfrm>
            <a:custGeom>
              <a:avLst/>
              <a:gdLst>
                <a:gd name="T0" fmla="*/ 1043 w 1735"/>
                <a:gd name="T1" fmla="*/ 1271 h 1727"/>
                <a:gd name="T2" fmla="*/ 683 w 1735"/>
                <a:gd name="T3" fmla="*/ 1271 h 1727"/>
                <a:gd name="T4" fmla="*/ 523 w 1735"/>
                <a:gd name="T5" fmla="*/ 1066 h 1727"/>
                <a:gd name="T6" fmla="*/ 528 w 1735"/>
                <a:gd name="T7" fmla="*/ 652 h 1727"/>
                <a:gd name="T8" fmla="*/ 468 w 1735"/>
                <a:gd name="T9" fmla="*/ 600 h 1727"/>
                <a:gd name="T10" fmla="*/ 422 w 1735"/>
                <a:gd name="T11" fmla="*/ 819 h 1727"/>
                <a:gd name="T12" fmla="*/ 1094 w 1735"/>
                <a:gd name="T13" fmla="*/ 530 h 1727"/>
                <a:gd name="T14" fmla="*/ 862 w 1735"/>
                <a:gd name="T15" fmla="*/ 561 h 1727"/>
                <a:gd name="T16" fmla="*/ 1133 w 1735"/>
                <a:gd name="T17" fmla="*/ 1003 h 1727"/>
                <a:gd name="T18" fmla="*/ 1084 w 1735"/>
                <a:gd name="T19" fmla="*/ 1073 h 1727"/>
                <a:gd name="T20" fmla="*/ 981 w 1735"/>
                <a:gd name="T21" fmla="*/ 1144 h 1727"/>
                <a:gd name="T22" fmla="*/ 926 w 1735"/>
                <a:gd name="T23" fmla="*/ 1162 h 1727"/>
                <a:gd name="T24" fmla="*/ 843 w 1735"/>
                <a:gd name="T25" fmla="*/ 1167 h 1727"/>
                <a:gd name="T26" fmla="*/ 770 w 1735"/>
                <a:gd name="T27" fmla="*/ 1153 h 1727"/>
                <a:gd name="T28" fmla="*/ 705 w 1735"/>
                <a:gd name="T29" fmla="*/ 1123 h 1727"/>
                <a:gd name="T30" fmla="*/ 630 w 1735"/>
                <a:gd name="T31" fmla="*/ 1057 h 1727"/>
                <a:gd name="T32" fmla="*/ 596 w 1735"/>
                <a:gd name="T33" fmla="*/ 1008 h 1727"/>
                <a:gd name="T34" fmla="*/ 577 w 1735"/>
                <a:gd name="T35" fmla="*/ 966 h 1727"/>
                <a:gd name="T36" fmla="*/ 561 w 1735"/>
                <a:gd name="T37" fmla="*/ 894 h 1727"/>
                <a:gd name="T38" fmla="*/ 562 w 1735"/>
                <a:gd name="T39" fmla="*/ 831 h 1727"/>
                <a:gd name="T40" fmla="*/ 610 w 1735"/>
                <a:gd name="T41" fmla="*/ 699 h 1727"/>
                <a:gd name="T42" fmla="*/ 655 w 1735"/>
                <a:gd name="T43" fmla="*/ 645 h 1727"/>
                <a:gd name="T44" fmla="*/ 698 w 1735"/>
                <a:gd name="T45" fmla="*/ 611 h 1727"/>
                <a:gd name="T46" fmla="*/ 783 w 1735"/>
                <a:gd name="T47" fmla="*/ 572 h 1727"/>
                <a:gd name="T48" fmla="*/ 823 w 1735"/>
                <a:gd name="T49" fmla="*/ 563 h 1727"/>
                <a:gd name="T50" fmla="*/ 910 w 1735"/>
                <a:gd name="T51" fmla="*/ 1307 h 1727"/>
                <a:gd name="T52" fmla="*/ 863 w 1735"/>
                <a:gd name="T53" fmla="*/ 1260 h 1727"/>
                <a:gd name="T54" fmla="*/ 1304 w 1735"/>
                <a:gd name="T55" fmla="*/ 913 h 1727"/>
                <a:gd name="T56" fmla="*/ 1255 w 1735"/>
                <a:gd name="T57" fmla="*/ 691 h 1727"/>
                <a:gd name="T58" fmla="*/ 1222 w 1735"/>
                <a:gd name="T59" fmla="*/ 1127 h 1727"/>
                <a:gd name="T60" fmla="*/ 1724 w 1735"/>
                <a:gd name="T61" fmla="*/ 746 h 1727"/>
                <a:gd name="T62" fmla="*/ 1518 w 1735"/>
                <a:gd name="T63" fmla="*/ 619 h 1727"/>
                <a:gd name="T64" fmla="*/ 1411 w 1735"/>
                <a:gd name="T65" fmla="*/ 430 h 1727"/>
                <a:gd name="T66" fmla="*/ 1301 w 1735"/>
                <a:gd name="T67" fmla="*/ 317 h 1727"/>
                <a:gd name="T68" fmla="*/ 1125 w 1735"/>
                <a:gd name="T69" fmla="*/ 187 h 1727"/>
                <a:gd name="T70" fmla="*/ 947 w 1735"/>
                <a:gd name="T71" fmla="*/ 0 h 1727"/>
                <a:gd name="T72" fmla="*/ 791 w 1735"/>
                <a:gd name="T73" fmla="*/ 27 h 1727"/>
                <a:gd name="T74" fmla="*/ 676 w 1735"/>
                <a:gd name="T75" fmla="*/ 149 h 1727"/>
                <a:gd name="T76" fmla="*/ 520 w 1735"/>
                <a:gd name="T77" fmla="*/ 70 h 1727"/>
                <a:gd name="T78" fmla="*/ 317 w 1735"/>
                <a:gd name="T79" fmla="*/ 233 h 1727"/>
                <a:gd name="T80" fmla="*/ 283 w 1735"/>
                <a:gd name="T81" fmla="*/ 385 h 1727"/>
                <a:gd name="T82" fmla="*/ 82 w 1735"/>
                <a:gd name="T83" fmla="*/ 484 h 1727"/>
                <a:gd name="T84" fmla="*/ 190 w 1735"/>
                <a:gd name="T85" fmla="*/ 676 h 1727"/>
                <a:gd name="T86" fmla="*/ 19 w 1735"/>
                <a:gd name="T87" fmla="*/ 677 h 1727"/>
                <a:gd name="T88" fmla="*/ 144 w 1735"/>
                <a:gd name="T89" fmla="*/ 827 h 1727"/>
                <a:gd name="T90" fmla="*/ 1 w 1735"/>
                <a:gd name="T91" fmla="*/ 946 h 1727"/>
                <a:gd name="T92" fmla="*/ 179 w 1735"/>
                <a:gd name="T93" fmla="*/ 1050 h 1727"/>
                <a:gd name="T94" fmla="*/ 70 w 1735"/>
                <a:gd name="T95" fmla="*/ 1206 h 1727"/>
                <a:gd name="T96" fmla="*/ 252 w 1735"/>
                <a:gd name="T97" fmla="*/ 1260 h 1727"/>
                <a:gd name="T98" fmla="*/ 290 w 1735"/>
                <a:gd name="T99" fmla="*/ 1514 h 1727"/>
                <a:gd name="T100" fmla="*/ 423 w 1735"/>
                <a:gd name="T101" fmla="*/ 1608 h 1727"/>
                <a:gd name="T102" fmla="*/ 674 w 1735"/>
                <a:gd name="T103" fmla="*/ 1708 h 1727"/>
                <a:gd name="T104" fmla="*/ 1052 w 1735"/>
                <a:gd name="T105" fmla="*/ 1656 h 1727"/>
                <a:gd name="T106" fmla="*/ 1249 w 1735"/>
                <a:gd name="T107" fmla="*/ 1448 h 1727"/>
                <a:gd name="T108" fmla="*/ 1463 w 1735"/>
                <a:gd name="T109" fmla="*/ 1368 h 1727"/>
                <a:gd name="T110" fmla="*/ 1658 w 1735"/>
                <a:gd name="T111" fmla="*/ 1210 h 1727"/>
                <a:gd name="T112" fmla="*/ 1618 w 1735"/>
                <a:gd name="T113" fmla="*/ 1053 h 1727"/>
                <a:gd name="T114" fmla="*/ 1649 w 1735"/>
                <a:gd name="T115" fmla="*/ 920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1727">
                  <a:moveTo>
                    <a:pt x="1038" y="1237"/>
                  </a:moveTo>
                  <a:cubicBezTo>
                    <a:pt x="1041" y="1225"/>
                    <a:pt x="1048" y="1214"/>
                    <a:pt x="1060" y="1207"/>
                  </a:cubicBezTo>
                  <a:cubicBezTo>
                    <a:pt x="1068" y="1203"/>
                    <a:pt x="1076" y="1201"/>
                    <a:pt x="1084" y="1201"/>
                  </a:cubicBezTo>
                  <a:cubicBezTo>
                    <a:pt x="1100" y="1201"/>
                    <a:pt x="1116" y="1209"/>
                    <a:pt x="1124" y="1224"/>
                  </a:cubicBezTo>
                  <a:cubicBezTo>
                    <a:pt x="1137" y="1246"/>
                    <a:pt x="1129" y="1275"/>
                    <a:pt x="1107" y="1288"/>
                  </a:cubicBezTo>
                  <a:cubicBezTo>
                    <a:pt x="1085" y="1301"/>
                    <a:pt x="1056" y="1293"/>
                    <a:pt x="1043" y="1271"/>
                  </a:cubicBezTo>
                  <a:cubicBezTo>
                    <a:pt x="1037" y="1260"/>
                    <a:pt x="1035" y="1248"/>
                    <a:pt x="1038" y="1237"/>
                  </a:cubicBezTo>
                  <a:moveTo>
                    <a:pt x="602" y="1225"/>
                  </a:moveTo>
                  <a:lnTo>
                    <a:pt x="602" y="1224"/>
                  </a:lnTo>
                  <a:cubicBezTo>
                    <a:pt x="615" y="1202"/>
                    <a:pt x="644" y="1194"/>
                    <a:pt x="666" y="1207"/>
                  </a:cubicBezTo>
                  <a:cubicBezTo>
                    <a:pt x="681" y="1216"/>
                    <a:pt x="690" y="1232"/>
                    <a:pt x="690" y="1249"/>
                  </a:cubicBezTo>
                  <a:cubicBezTo>
                    <a:pt x="689" y="1256"/>
                    <a:pt x="687" y="1264"/>
                    <a:pt x="683" y="1271"/>
                  </a:cubicBezTo>
                  <a:cubicBezTo>
                    <a:pt x="670" y="1293"/>
                    <a:pt x="642" y="1301"/>
                    <a:pt x="619" y="1288"/>
                  </a:cubicBezTo>
                  <a:cubicBezTo>
                    <a:pt x="597" y="1275"/>
                    <a:pt x="589" y="1247"/>
                    <a:pt x="602" y="1225"/>
                  </a:cubicBezTo>
                  <a:close/>
                  <a:moveTo>
                    <a:pt x="455" y="1047"/>
                  </a:moveTo>
                  <a:lnTo>
                    <a:pt x="458" y="1046"/>
                  </a:lnTo>
                  <a:cubicBezTo>
                    <a:pt x="480" y="1033"/>
                    <a:pt x="509" y="1040"/>
                    <a:pt x="522" y="1063"/>
                  </a:cubicBezTo>
                  <a:lnTo>
                    <a:pt x="523" y="1066"/>
                  </a:lnTo>
                  <a:cubicBezTo>
                    <a:pt x="534" y="1088"/>
                    <a:pt x="526" y="1114"/>
                    <a:pt x="505" y="1127"/>
                  </a:cubicBezTo>
                  <a:cubicBezTo>
                    <a:pt x="482" y="1140"/>
                    <a:pt x="454" y="1132"/>
                    <a:pt x="441" y="1110"/>
                  </a:cubicBezTo>
                  <a:cubicBezTo>
                    <a:pt x="428" y="1088"/>
                    <a:pt x="435" y="1061"/>
                    <a:pt x="455" y="1047"/>
                  </a:cubicBezTo>
                  <a:moveTo>
                    <a:pt x="468" y="600"/>
                  </a:moveTo>
                  <a:cubicBezTo>
                    <a:pt x="480" y="597"/>
                    <a:pt x="493" y="598"/>
                    <a:pt x="505" y="605"/>
                  </a:cubicBezTo>
                  <a:cubicBezTo>
                    <a:pt x="522" y="615"/>
                    <a:pt x="530" y="633"/>
                    <a:pt x="528" y="652"/>
                  </a:cubicBezTo>
                  <a:cubicBezTo>
                    <a:pt x="527" y="658"/>
                    <a:pt x="525" y="663"/>
                    <a:pt x="522" y="669"/>
                  </a:cubicBezTo>
                  <a:cubicBezTo>
                    <a:pt x="521" y="670"/>
                    <a:pt x="520" y="672"/>
                    <a:pt x="519" y="673"/>
                  </a:cubicBezTo>
                  <a:cubicBezTo>
                    <a:pt x="505" y="692"/>
                    <a:pt x="479" y="698"/>
                    <a:pt x="458" y="686"/>
                  </a:cubicBezTo>
                  <a:cubicBezTo>
                    <a:pt x="436" y="673"/>
                    <a:pt x="428" y="644"/>
                    <a:pt x="441" y="622"/>
                  </a:cubicBezTo>
                  <a:cubicBezTo>
                    <a:pt x="442" y="620"/>
                    <a:pt x="443" y="618"/>
                    <a:pt x="445" y="616"/>
                  </a:cubicBezTo>
                  <a:cubicBezTo>
                    <a:pt x="451" y="609"/>
                    <a:pt x="459" y="603"/>
                    <a:pt x="468" y="600"/>
                  </a:cubicBezTo>
                  <a:moveTo>
                    <a:pt x="469" y="866"/>
                  </a:moveTo>
                  <a:cubicBezTo>
                    <a:pt x="469" y="892"/>
                    <a:pt x="448" y="913"/>
                    <a:pt x="422" y="913"/>
                  </a:cubicBezTo>
                  <a:cubicBezTo>
                    <a:pt x="417" y="913"/>
                    <a:pt x="412" y="912"/>
                    <a:pt x="408" y="910"/>
                  </a:cubicBezTo>
                  <a:cubicBezTo>
                    <a:pt x="394" y="906"/>
                    <a:pt x="382" y="894"/>
                    <a:pt x="378" y="880"/>
                  </a:cubicBezTo>
                  <a:cubicBezTo>
                    <a:pt x="376" y="876"/>
                    <a:pt x="375" y="871"/>
                    <a:pt x="375" y="866"/>
                  </a:cubicBezTo>
                  <a:cubicBezTo>
                    <a:pt x="375" y="840"/>
                    <a:pt x="396" y="819"/>
                    <a:pt x="422" y="819"/>
                  </a:cubicBezTo>
                  <a:cubicBezTo>
                    <a:pt x="448" y="819"/>
                    <a:pt x="469" y="840"/>
                    <a:pt x="469" y="866"/>
                  </a:cubicBezTo>
                  <a:close/>
                  <a:moveTo>
                    <a:pt x="1038" y="474"/>
                  </a:moveTo>
                  <a:cubicBezTo>
                    <a:pt x="1039" y="469"/>
                    <a:pt x="1041" y="465"/>
                    <a:pt x="1043" y="461"/>
                  </a:cubicBezTo>
                  <a:cubicBezTo>
                    <a:pt x="1056" y="438"/>
                    <a:pt x="1085" y="430"/>
                    <a:pt x="1107" y="443"/>
                  </a:cubicBezTo>
                  <a:cubicBezTo>
                    <a:pt x="1129" y="456"/>
                    <a:pt x="1137" y="485"/>
                    <a:pt x="1124" y="507"/>
                  </a:cubicBezTo>
                  <a:cubicBezTo>
                    <a:pt x="1117" y="519"/>
                    <a:pt x="1106" y="527"/>
                    <a:pt x="1094" y="530"/>
                  </a:cubicBezTo>
                  <a:cubicBezTo>
                    <a:pt x="1083" y="532"/>
                    <a:pt x="1071" y="531"/>
                    <a:pt x="1060" y="525"/>
                  </a:cubicBezTo>
                  <a:cubicBezTo>
                    <a:pt x="1042" y="514"/>
                    <a:pt x="1034" y="493"/>
                    <a:pt x="1038" y="474"/>
                  </a:cubicBezTo>
                  <a:moveTo>
                    <a:pt x="823" y="563"/>
                  </a:moveTo>
                  <a:cubicBezTo>
                    <a:pt x="825" y="563"/>
                    <a:pt x="827" y="563"/>
                    <a:pt x="829" y="563"/>
                  </a:cubicBezTo>
                  <a:cubicBezTo>
                    <a:pt x="834" y="562"/>
                    <a:pt x="839" y="562"/>
                    <a:pt x="844" y="561"/>
                  </a:cubicBezTo>
                  <a:cubicBezTo>
                    <a:pt x="850" y="561"/>
                    <a:pt x="856" y="561"/>
                    <a:pt x="862" y="561"/>
                  </a:cubicBezTo>
                  <a:cubicBezTo>
                    <a:pt x="1027" y="560"/>
                    <a:pt x="1168" y="696"/>
                    <a:pt x="1167" y="863"/>
                  </a:cubicBezTo>
                  <a:cubicBezTo>
                    <a:pt x="1167" y="875"/>
                    <a:pt x="1166" y="887"/>
                    <a:pt x="1165" y="899"/>
                  </a:cubicBezTo>
                  <a:cubicBezTo>
                    <a:pt x="1163" y="919"/>
                    <a:pt x="1159" y="939"/>
                    <a:pt x="1152" y="959"/>
                  </a:cubicBezTo>
                  <a:cubicBezTo>
                    <a:pt x="1151" y="962"/>
                    <a:pt x="1150" y="966"/>
                    <a:pt x="1149" y="969"/>
                  </a:cubicBezTo>
                  <a:cubicBezTo>
                    <a:pt x="1146" y="977"/>
                    <a:pt x="1142" y="985"/>
                    <a:pt x="1138" y="993"/>
                  </a:cubicBezTo>
                  <a:cubicBezTo>
                    <a:pt x="1137" y="997"/>
                    <a:pt x="1135" y="1000"/>
                    <a:pt x="1133" y="1003"/>
                  </a:cubicBezTo>
                  <a:lnTo>
                    <a:pt x="1133" y="1004"/>
                  </a:lnTo>
                  <a:cubicBezTo>
                    <a:pt x="1131" y="1008"/>
                    <a:pt x="1129" y="1012"/>
                    <a:pt x="1126" y="1016"/>
                  </a:cubicBezTo>
                  <a:cubicBezTo>
                    <a:pt x="1124" y="1020"/>
                    <a:pt x="1122" y="1024"/>
                    <a:pt x="1119" y="1027"/>
                  </a:cubicBezTo>
                  <a:cubicBezTo>
                    <a:pt x="1117" y="1031"/>
                    <a:pt x="1114" y="1035"/>
                    <a:pt x="1112" y="1039"/>
                  </a:cubicBezTo>
                  <a:cubicBezTo>
                    <a:pt x="1109" y="1042"/>
                    <a:pt x="1107" y="1046"/>
                    <a:pt x="1104" y="1050"/>
                  </a:cubicBezTo>
                  <a:cubicBezTo>
                    <a:pt x="1098" y="1058"/>
                    <a:pt x="1091" y="1065"/>
                    <a:pt x="1084" y="1073"/>
                  </a:cubicBezTo>
                  <a:cubicBezTo>
                    <a:pt x="1081" y="1075"/>
                    <a:pt x="1079" y="1078"/>
                    <a:pt x="1077" y="1080"/>
                  </a:cubicBezTo>
                  <a:cubicBezTo>
                    <a:pt x="1060" y="1097"/>
                    <a:pt x="1041" y="1111"/>
                    <a:pt x="1021" y="1124"/>
                  </a:cubicBezTo>
                  <a:cubicBezTo>
                    <a:pt x="1017" y="1126"/>
                    <a:pt x="1013" y="1128"/>
                    <a:pt x="1009" y="1131"/>
                  </a:cubicBezTo>
                  <a:lnTo>
                    <a:pt x="1008" y="1131"/>
                  </a:lnTo>
                  <a:cubicBezTo>
                    <a:pt x="1004" y="1133"/>
                    <a:pt x="1000" y="1136"/>
                    <a:pt x="995" y="1138"/>
                  </a:cubicBezTo>
                  <a:cubicBezTo>
                    <a:pt x="991" y="1140"/>
                    <a:pt x="986" y="1142"/>
                    <a:pt x="981" y="1144"/>
                  </a:cubicBezTo>
                  <a:cubicBezTo>
                    <a:pt x="978" y="1146"/>
                    <a:pt x="974" y="1147"/>
                    <a:pt x="970" y="1148"/>
                  </a:cubicBezTo>
                  <a:cubicBezTo>
                    <a:pt x="968" y="1150"/>
                    <a:pt x="965" y="1151"/>
                    <a:pt x="962" y="1152"/>
                  </a:cubicBezTo>
                  <a:cubicBezTo>
                    <a:pt x="958" y="1153"/>
                    <a:pt x="955" y="1154"/>
                    <a:pt x="952" y="1155"/>
                  </a:cubicBezTo>
                  <a:cubicBezTo>
                    <a:pt x="948" y="1156"/>
                    <a:pt x="944" y="1157"/>
                    <a:pt x="940" y="1158"/>
                  </a:cubicBezTo>
                  <a:cubicBezTo>
                    <a:pt x="936" y="1159"/>
                    <a:pt x="931" y="1161"/>
                    <a:pt x="926" y="1161"/>
                  </a:cubicBezTo>
                  <a:lnTo>
                    <a:pt x="926" y="1162"/>
                  </a:lnTo>
                  <a:cubicBezTo>
                    <a:pt x="923" y="1162"/>
                    <a:pt x="920" y="1163"/>
                    <a:pt x="918" y="1163"/>
                  </a:cubicBezTo>
                  <a:cubicBezTo>
                    <a:pt x="915" y="1164"/>
                    <a:pt x="911" y="1164"/>
                    <a:pt x="908" y="1165"/>
                  </a:cubicBezTo>
                  <a:cubicBezTo>
                    <a:pt x="904" y="1165"/>
                    <a:pt x="899" y="1166"/>
                    <a:pt x="894" y="1167"/>
                  </a:cubicBezTo>
                  <a:cubicBezTo>
                    <a:pt x="885" y="1168"/>
                    <a:pt x="875" y="1168"/>
                    <a:pt x="866" y="1168"/>
                  </a:cubicBezTo>
                  <a:cubicBezTo>
                    <a:pt x="861" y="1168"/>
                    <a:pt x="856" y="1168"/>
                    <a:pt x="851" y="1168"/>
                  </a:cubicBezTo>
                  <a:cubicBezTo>
                    <a:pt x="848" y="1168"/>
                    <a:pt x="845" y="1168"/>
                    <a:pt x="843" y="1167"/>
                  </a:cubicBezTo>
                  <a:cubicBezTo>
                    <a:pt x="839" y="1167"/>
                    <a:pt x="836" y="1167"/>
                    <a:pt x="833" y="1166"/>
                  </a:cubicBezTo>
                  <a:lnTo>
                    <a:pt x="831" y="1166"/>
                  </a:lnTo>
                  <a:cubicBezTo>
                    <a:pt x="826" y="1166"/>
                    <a:pt x="822" y="1165"/>
                    <a:pt x="817" y="1164"/>
                  </a:cubicBezTo>
                  <a:cubicBezTo>
                    <a:pt x="813" y="1164"/>
                    <a:pt x="809" y="1163"/>
                    <a:pt x="806" y="1162"/>
                  </a:cubicBezTo>
                  <a:cubicBezTo>
                    <a:pt x="796" y="1161"/>
                    <a:pt x="787" y="1158"/>
                    <a:pt x="778" y="1156"/>
                  </a:cubicBezTo>
                  <a:cubicBezTo>
                    <a:pt x="775" y="1155"/>
                    <a:pt x="772" y="1154"/>
                    <a:pt x="770" y="1153"/>
                  </a:cubicBezTo>
                  <a:cubicBezTo>
                    <a:pt x="766" y="1152"/>
                    <a:pt x="762" y="1151"/>
                    <a:pt x="758" y="1149"/>
                  </a:cubicBezTo>
                  <a:cubicBezTo>
                    <a:pt x="754" y="1148"/>
                    <a:pt x="750" y="1146"/>
                    <a:pt x="745" y="1144"/>
                  </a:cubicBezTo>
                  <a:cubicBezTo>
                    <a:pt x="742" y="1142"/>
                    <a:pt x="738" y="1141"/>
                    <a:pt x="735" y="1139"/>
                  </a:cubicBezTo>
                  <a:cubicBezTo>
                    <a:pt x="732" y="1138"/>
                    <a:pt x="729" y="1137"/>
                    <a:pt x="727" y="1135"/>
                  </a:cubicBezTo>
                  <a:cubicBezTo>
                    <a:pt x="723" y="1134"/>
                    <a:pt x="720" y="1132"/>
                    <a:pt x="717" y="1130"/>
                  </a:cubicBezTo>
                  <a:cubicBezTo>
                    <a:pt x="713" y="1128"/>
                    <a:pt x="709" y="1125"/>
                    <a:pt x="705" y="1123"/>
                  </a:cubicBezTo>
                  <a:cubicBezTo>
                    <a:pt x="703" y="1122"/>
                    <a:pt x="700" y="1120"/>
                    <a:pt x="698" y="1118"/>
                  </a:cubicBezTo>
                  <a:lnTo>
                    <a:pt x="694" y="1116"/>
                  </a:lnTo>
                  <a:cubicBezTo>
                    <a:pt x="691" y="1114"/>
                    <a:pt x="688" y="1111"/>
                    <a:pt x="685" y="1109"/>
                  </a:cubicBezTo>
                  <a:cubicBezTo>
                    <a:pt x="680" y="1106"/>
                    <a:pt x="676" y="1103"/>
                    <a:pt x="672" y="1099"/>
                  </a:cubicBezTo>
                  <a:cubicBezTo>
                    <a:pt x="659" y="1089"/>
                    <a:pt x="647" y="1077"/>
                    <a:pt x="636" y="1065"/>
                  </a:cubicBezTo>
                  <a:cubicBezTo>
                    <a:pt x="634" y="1062"/>
                    <a:pt x="632" y="1060"/>
                    <a:pt x="630" y="1057"/>
                  </a:cubicBezTo>
                  <a:cubicBezTo>
                    <a:pt x="627" y="1054"/>
                    <a:pt x="624" y="1050"/>
                    <a:pt x="622" y="1047"/>
                  </a:cubicBezTo>
                  <a:lnTo>
                    <a:pt x="619" y="1044"/>
                  </a:lnTo>
                  <a:lnTo>
                    <a:pt x="619" y="1044"/>
                  </a:lnTo>
                  <a:cubicBezTo>
                    <a:pt x="617" y="1040"/>
                    <a:pt x="614" y="1037"/>
                    <a:pt x="612" y="1034"/>
                  </a:cubicBezTo>
                  <a:cubicBezTo>
                    <a:pt x="609" y="1029"/>
                    <a:pt x="606" y="1025"/>
                    <a:pt x="604" y="1021"/>
                  </a:cubicBezTo>
                  <a:cubicBezTo>
                    <a:pt x="601" y="1016"/>
                    <a:pt x="599" y="1012"/>
                    <a:pt x="596" y="1008"/>
                  </a:cubicBezTo>
                  <a:cubicBezTo>
                    <a:pt x="594" y="1004"/>
                    <a:pt x="592" y="1001"/>
                    <a:pt x="591" y="997"/>
                  </a:cubicBezTo>
                  <a:lnTo>
                    <a:pt x="589" y="993"/>
                  </a:lnTo>
                  <a:cubicBezTo>
                    <a:pt x="587" y="990"/>
                    <a:pt x="586" y="986"/>
                    <a:pt x="584" y="983"/>
                  </a:cubicBezTo>
                  <a:lnTo>
                    <a:pt x="583" y="980"/>
                  </a:lnTo>
                  <a:cubicBezTo>
                    <a:pt x="581" y="976"/>
                    <a:pt x="580" y="973"/>
                    <a:pt x="579" y="969"/>
                  </a:cubicBezTo>
                  <a:lnTo>
                    <a:pt x="577" y="966"/>
                  </a:lnTo>
                  <a:cubicBezTo>
                    <a:pt x="575" y="958"/>
                    <a:pt x="572" y="951"/>
                    <a:pt x="570" y="944"/>
                  </a:cubicBezTo>
                  <a:cubicBezTo>
                    <a:pt x="569" y="938"/>
                    <a:pt x="567" y="931"/>
                    <a:pt x="566" y="925"/>
                  </a:cubicBezTo>
                  <a:cubicBezTo>
                    <a:pt x="565" y="921"/>
                    <a:pt x="564" y="918"/>
                    <a:pt x="564" y="914"/>
                  </a:cubicBezTo>
                  <a:lnTo>
                    <a:pt x="563" y="910"/>
                  </a:lnTo>
                  <a:cubicBezTo>
                    <a:pt x="562" y="906"/>
                    <a:pt x="562" y="902"/>
                    <a:pt x="562" y="898"/>
                  </a:cubicBezTo>
                  <a:lnTo>
                    <a:pt x="561" y="894"/>
                  </a:lnTo>
                  <a:cubicBezTo>
                    <a:pt x="561" y="891"/>
                    <a:pt x="560" y="887"/>
                    <a:pt x="560" y="883"/>
                  </a:cubicBezTo>
                  <a:cubicBezTo>
                    <a:pt x="560" y="878"/>
                    <a:pt x="560" y="873"/>
                    <a:pt x="560" y="867"/>
                  </a:cubicBezTo>
                  <a:lnTo>
                    <a:pt x="560" y="864"/>
                  </a:lnTo>
                  <a:cubicBezTo>
                    <a:pt x="560" y="860"/>
                    <a:pt x="560" y="855"/>
                    <a:pt x="560" y="850"/>
                  </a:cubicBezTo>
                  <a:cubicBezTo>
                    <a:pt x="560" y="847"/>
                    <a:pt x="560" y="843"/>
                    <a:pt x="561" y="840"/>
                  </a:cubicBezTo>
                  <a:lnTo>
                    <a:pt x="562" y="831"/>
                  </a:lnTo>
                  <a:cubicBezTo>
                    <a:pt x="563" y="816"/>
                    <a:pt x="566" y="801"/>
                    <a:pt x="570" y="787"/>
                  </a:cubicBezTo>
                  <a:cubicBezTo>
                    <a:pt x="571" y="783"/>
                    <a:pt x="572" y="779"/>
                    <a:pt x="573" y="775"/>
                  </a:cubicBezTo>
                  <a:cubicBezTo>
                    <a:pt x="575" y="771"/>
                    <a:pt x="576" y="766"/>
                    <a:pt x="578" y="761"/>
                  </a:cubicBezTo>
                  <a:cubicBezTo>
                    <a:pt x="583" y="747"/>
                    <a:pt x="589" y="734"/>
                    <a:pt x="596" y="721"/>
                  </a:cubicBezTo>
                  <a:cubicBezTo>
                    <a:pt x="599" y="717"/>
                    <a:pt x="601" y="713"/>
                    <a:pt x="603" y="709"/>
                  </a:cubicBezTo>
                  <a:cubicBezTo>
                    <a:pt x="605" y="705"/>
                    <a:pt x="607" y="702"/>
                    <a:pt x="610" y="699"/>
                  </a:cubicBezTo>
                  <a:cubicBezTo>
                    <a:pt x="612" y="696"/>
                    <a:pt x="614" y="693"/>
                    <a:pt x="616" y="690"/>
                  </a:cubicBezTo>
                  <a:lnTo>
                    <a:pt x="616" y="689"/>
                  </a:lnTo>
                  <a:lnTo>
                    <a:pt x="616" y="689"/>
                  </a:lnTo>
                  <a:cubicBezTo>
                    <a:pt x="620" y="684"/>
                    <a:pt x="623" y="679"/>
                    <a:pt x="627" y="675"/>
                  </a:cubicBezTo>
                  <a:cubicBezTo>
                    <a:pt x="631" y="670"/>
                    <a:pt x="635" y="666"/>
                    <a:pt x="638" y="662"/>
                  </a:cubicBezTo>
                  <a:cubicBezTo>
                    <a:pt x="644" y="656"/>
                    <a:pt x="649" y="650"/>
                    <a:pt x="655" y="645"/>
                  </a:cubicBezTo>
                  <a:cubicBezTo>
                    <a:pt x="658" y="642"/>
                    <a:pt x="661" y="639"/>
                    <a:pt x="664" y="636"/>
                  </a:cubicBezTo>
                  <a:lnTo>
                    <a:pt x="667" y="633"/>
                  </a:lnTo>
                  <a:cubicBezTo>
                    <a:pt x="671" y="630"/>
                    <a:pt x="674" y="627"/>
                    <a:pt x="678" y="625"/>
                  </a:cubicBezTo>
                  <a:cubicBezTo>
                    <a:pt x="680" y="623"/>
                    <a:pt x="681" y="622"/>
                    <a:pt x="683" y="621"/>
                  </a:cubicBezTo>
                  <a:cubicBezTo>
                    <a:pt x="687" y="618"/>
                    <a:pt x="691" y="615"/>
                    <a:pt x="695" y="612"/>
                  </a:cubicBezTo>
                  <a:lnTo>
                    <a:pt x="698" y="611"/>
                  </a:lnTo>
                  <a:cubicBezTo>
                    <a:pt x="702" y="607"/>
                    <a:pt x="707" y="604"/>
                    <a:pt x="712" y="602"/>
                  </a:cubicBezTo>
                  <a:cubicBezTo>
                    <a:pt x="717" y="598"/>
                    <a:pt x="723" y="595"/>
                    <a:pt x="729" y="593"/>
                  </a:cubicBezTo>
                  <a:cubicBezTo>
                    <a:pt x="734" y="590"/>
                    <a:pt x="739" y="588"/>
                    <a:pt x="744" y="586"/>
                  </a:cubicBezTo>
                  <a:lnTo>
                    <a:pt x="745" y="585"/>
                  </a:lnTo>
                  <a:cubicBezTo>
                    <a:pt x="755" y="581"/>
                    <a:pt x="765" y="577"/>
                    <a:pt x="776" y="574"/>
                  </a:cubicBezTo>
                  <a:cubicBezTo>
                    <a:pt x="778" y="573"/>
                    <a:pt x="780" y="572"/>
                    <a:pt x="783" y="572"/>
                  </a:cubicBezTo>
                  <a:lnTo>
                    <a:pt x="783" y="572"/>
                  </a:lnTo>
                  <a:cubicBezTo>
                    <a:pt x="785" y="571"/>
                    <a:pt x="788" y="570"/>
                    <a:pt x="790" y="570"/>
                  </a:cubicBezTo>
                  <a:cubicBezTo>
                    <a:pt x="792" y="569"/>
                    <a:pt x="795" y="569"/>
                    <a:pt x="797" y="568"/>
                  </a:cubicBezTo>
                  <a:cubicBezTo>
                    <a:pt x="800" y="567"/>
                    <a:pt x="803" y="567"/>
                    <a:pt x="805" y="566"/>
                  </a:cubicBezTo>
                  <a:cubicBezTo>
                    <a:pt x="808" y="566"/>
                    <a:pt x="810" y="565"/>
                    <a:pt x="812" y="565"/>
                  </a:cubicBezTo>
                  <a:cubicBezTo>
                    <a:pt x="816" y="564"/>
                    <a:pt x="819" y="564"/>
                    <a:pt x="823" y="563"/>
                  </a:cubicBezTo>
                  <a:moveTo>
                    <a:pt x="863" y="378"/>
                  </a:moveTo>
                  <a:cubicBezTo>
                    <a:pt x="889" y="378"/>
                    <a:pt x="910" y="399"/>
                    <a:pt x="910" y="425"/>
                  </a:cubicBezTo>
                  <a:cubicBezTo>
                    <a:pt x="910" y="451"/>
                    <a:pt x="889" y="472"/>
                    <a:pt x="863" y="472"/>
                  </a:cubicBezTo>
                  <a:cubicBezTo>
                    <a:pt x="837" y="472"/>
                    <a:pt x="816" y="451"/>
                    <a:pt x="816" y="425"/>
                  </a:cubicBezTo>
                  <a:cubicBezTo>
                    <a:pt x="816" y="399"/>
                    <a:pt x="837" y="378"/>
                    <a:pt x="863" y="378"/>
                  </a:cubicBezTo>
                  <a:close/>
                  <a:moveTo>
                    <a:pt x="910" y="1307"/>
                  </a:moveTo>
                  <a:cubicBezTo>
                    <a:pt x="910" y="1332"/>
                    <a:pt x="889" y="1353"/>
                    <a:pt x="863" y="1353"/>
                  </a:cubicBezTo>
                  <a:cubicBezTo>
                    <a:pt x="858" y="1353"/>
                    <a:pt x="853" y="1353"/>
                    <a:pt x="848" y="1351"/>
                  </a:cubicBezTo>
                  <a:cubicBezTo>
                    <a:pt x="834" y="1346"/>
                    <a:pt x="823" y="1335"/>
                    <a:pt x="819" y="1321"/>
                  </a:cubicBezTo>
                  <a:cubicBezTo>
                    <a:pt x="817" y="1317"/>
                    <a:pt x="816" y="1312"/>
                    <a:pt x="816" y="1307"/>
                  </a:cubicBezTo>
                  <a:cubicBezTo>
                    <a:pt x="816" y="1298"/>
                    <a:pt x="819" y="1290"/>
                    <a:pt x="822" y="1283"/>
                  </a:cubicBezTo>
                  <a:cubicBezTo>
                    <a:pt x="830" y="1269"/>
                    <a:pt x="846" y="1260"/>
                    <a:pt x="863" y="1260"/>
                  </a:cubicBezTo>
                  <a:cubicBezTo>
                    <a:pt x="881" y="1260"/>
                    <a:pt x="897" y="1270"/>
                    <a:pt x="904" y="1285"/>
                  </a:cubicBezTo>
                  <a:cubicBezTo>
                    <a:pt x="908" y="1291"/>
                    <a:pt x="910" y="1299"/>
                    <a:pt x="910" y="1307"/>
                  </a:cubicBezTo>
                  <a:moveTo>
                    <a:pt x="1257" y="866"/>
                  </a:moveTo>
                  <a:cubicBezTo>
                    <a:pt x="1257" y="840"/>
                    <a:pt x="1278" y="819"/>
                    <a:pt x="1304" y="819"/>
                  </a:cubicBezTo>
                  <a:cubicBezTo>
                    <a:pt x="1330" y="819"/>
                    <a:pt x="1351" y="840"/>
                    <a:pt x="1351" y="866"/>
                  </a:cubicBezTo>
                  <a:cubicBezTo>
                    <a:pt x="1351" y="892"/>
                    <a:pt x="1330" y="913"/>
                    <a:pt x="1304" y="913"/>
                  </a:cubicBezTo>
                  <a:cubicBezTo>
                    <a:pt x="1278" y="913"/>
                    <a:pt x="1257" y="892"/>
                    <a:pt x="1257" y="866"/>
                  </a:cubicBezTo>
                  <a:close/>
                  <a:moveTo>
                    <a:pt x="1199" y="635"/>
                  </a:moveTo>
                  <a:cubicBezTo>
                    <a:pt x="1202" y="623"/>
                    <a:pt x="1210" y="612"/>
                    <a:pt x="1222" y="605"/>
                  </a:cubicBezTo>
                  <a:cubicBezTo>
                    <a:pt x="1244" y="592"/>
                    <a:pt x="1273" y="599"/>
                    <a:pt x="1285" y="622"/>
                  </a:cubicBezTo>
                  <a:cubicBezTo>
                    <a:pt x="1298" y="644"/>
                    <a:pt x="1291" y="673"/>
                    <a:pt x="1268" y="686"/>
                  </a:cubicBezTo>
                  <a:cubicBezTo>
                    <a:pt x="1264" y="688"/>
                    <a:pt x="1260" y="690"/>
                    <a:pt x="1255" y="691"/>
                  </a:cubicBezTo>
                  <a:cubicBezTo>
                    <a:pt x="1236" y="695"/>
                    <a:pt x="1215" y="687"/>
                    <a:pt x="1204" y="669"/>
                  </a:cubicBezTo>
                  <a:cubicBezTo>
                    <a:pt x="1198" y="658"/>
                    <a:pt x="1197" y="646"/>
                    <a:pt x="1199" y="635"/>
                  </a:cubicBezTo>
                  <a:close/>
                  <a:moveTo>
                    <a:pt x="1204" y="1063"/>
                  </a:moveTo>
                  <a:cubicBezTo>
                    <a:pt x="1217" y="1040"/>
                    <a:pt x="1246" y="1033"/>
                    <a:pt x="1268" y="1046"/>
                  </a:cubicBezTo>
                  <a:cubicBezTo>
                    <a:pt x="1291" y="1059"/>
                    <a:pt x="1298" y="1087"/>
                    <a:pt x="1285" y="1110"/>
                  </a:cubicBezTo>
                  <a:cubicBezTo>
                    <a:pt x="1273" y="1132"/>
                    <a:pt x="1244" y="1140"/>
                    <a:pt x="1222" y="1127"/>
                  </a:cubicBezTo>
                  <a:cubicBezTo>
                    <a:pt x="1199" y="1114"/>
                    <a:pt x="1191" y="1085"/>
                    <a:pt x="1204" y="1063"/>
                  </a:cubicBezTo>
                  <a:moveTo>
                    <a:pt x="1575" y="829"/>
                  </a:moveTo>
                  <a:cubicBezTo>
                    <a:pt x="1623" y="815"/>
                    <a:pt x="1671" y="800"/>
                    <a:pt x="1718" y="786"/>
                  </a:cubicBezTo>
                  <a:cubicBezTo>
                    <a:pt x="1724" y="785"/>
                    <a:pt x="1729" y="784"/>
                    <a:pt x="1735" y="783"/>
                  </a:cubicBezTo>
                  <a:lnTo>
                    <a:pt x="1735" y="767"/>
                  </a:lnTo>
                  <a:cubicBezTo>
                    <a:pt x="1725" y="763"/>
                    <a:pt x="1725" y="754"/>
                    <a:pt x="1724" y="746"/>
                  </a:cubicBezTo>
                  <a:cubicBezTo>
                    <a:pt x="1720" y="723"/>
                    <a:pt x="1716" y="701"/>
                    <a:pt x="1713" y="681"/>
                  </a:cubicBezTo>
                  <a:cubicBezTo>
                    <a:pt x="1703" y="674"/>
                    <a:pt x="1694" y="675"/>
                    <a:pt x="1686" y="675"/>
                  </a:cubicBezTo>
                  <a:cubicBezTo>
                    <a:pt x="1646" y="676"/>
                    <a:pt x="1605" y="677"/>
                    <a:pt x="1565" y="677"/>
                  </a:cubicBezTo>
                  <a:cubicBezTo>
                    <a:pt x="1557" y="677"/>
                    <a:pt x="1548" y="677"/>
                    <a:pt x="1538" y="677"/>
                  </a:cubicBezTo>
                  <a:cubicBezTo>
                    <a:pt x="1534" y="668"/>
                    <a:pt x="1531" y="658"/>
                    <a:pt x="1527" y="649"/>
                  </a:cubicBezTo>
                  <a:cubicBezTo>
                    <a:pt x="1524" y="639"/>
                    <a:pt x="1522" y="629"/>
                    <a:pt x="1518" y="619"/>
                  </a:cubicBezTo>
                  <a:cubicBezTo>
                    <a:pt x="1544" y="602"/>
                    <a:pt x="1568" y="586"/>
                    <a:pt x="1592" y="569"/>
                  </a:cubicBezTo>
                  <a:cubicBezTo>
                    <a:pt x="1615" y="553"/>
                    <a:pt x="1639" y="538"/>
                    <a:pt x="1659" y="518"/>
                  </a:cubicBezTo>
                  <a:cubicBezTo>
                    <a:pt x="1646" y="485"/>
                    <a:pt x="1630" y="454"/>
                    <a:pt x="1611" y="423"/>
                  </a:cubicBezTo>
                  <a:cubicBezTo>
                    <a:pt x="1582" y="429"/>
                    <a:pt x="1555" y="440"/>
                    <a:pt x="1528" y="449"/>
                  </a:cubicBezTo>
                  <a:cubicBezTo>
                    <a:pt x="1501" y="459"/>
                    <a:pt x="1475" y="469"/>
                    <a:pt x="1447" y="479"/>
                  </a:cubicBezTo>
                  <a:cubicBezTo>
                    <a:pt x="1435" y="463"/>
                    <a:pt x="1423" y="447"/>
                    <a:pt x="1411" y="430"/>
                  </a:cubicBezTo>
                  <a:cubicBezTo>
                    <a:pt x="1414" y="425"/>
                    <a:pt x="1417" y="419"/>
                    <a:pt x="1421" y="414"/>
                  </a:cubicBezTo>
                  <a:cubicBezTo>
                    <a:pt x="1447" y="380"/>
                    <a:pt x="1473" y="347"/>
                    <a:pt x="1498" y="313"/>
                  </a:cubicBezTo>
                  <a:cubicBezTo>
                    <a:pt x="1504" y="306"/>
                    <a:pt x="1508" y="298"/>
                    <a:pt x="1514" y="290"/>
                  </a:cubicBezTo>
                  <a:cubicBezTo>
                    <a:pt x="1491" y="262"/>
                    <a:pt x="1466" y="238"/>
                    <a:pt x="1439" y="214"/>
                  </a:cubicBezTo>
                  <a:cubicBezTo>
                    <a:pt x="1413" y="228"/>
                    <a:pt x="1391" y="247"/>
                    <a:pt x="1367" y="264"/>
                  </a:cubicBezTo>
                  <a:cubicBezTo>
                    <a:pt x="1345" y="281"/>
                    <a:pt x="1323" y="299"/>
                    <a:pt x="1301" y="317"/>
                  </a:cubicBezTo>
                  <a:cubicBezTo>
                    <a:pt x="1290" y="314"/>
                    <a:pt x="1283" y="306"/>
                    <a:pt x="1274" y="300"/>
                  </a:cubicBezTo>
                  <a:cubicBezTo>
                    <a:pt x="1266" y="294"/>
                    <a:pt x="1257" y="289"/>
                    <a:pt x="1250" y="279"/>
                  </a:cubicBezTo>
                  <a:cubicBezTo>
                    <a:pt x="1268" y="226"/>
                    <a:pt x="1290" y="173"/>
                    <a:pt x="1305" y="117"/>
                  </a:cubicBezTo>
                  <a:cubicBezTo>
                    <a:pt x="1274" y="98"/>
                    <a:pt x="1244" y="82"/>
                    <a:pt x="1210" y="68"/>
                  </a:cubicBezTo>
                  <a:cubicBezTo>
                    <a:pt x="1206" y="73"/>
                    <a:pt x="1201" y="77"/>
                    <a:pt x="1197" y="82"/>
                  </a:cubicBezTo>
                  <a:cubicBezTo>
                    <a:pt x="1173" y="117"/>
                    <a:pt x="1149" y="152"/>
                    <a:pt x="1125" y="187"/>
                  </a:cubicBezTo>
                  <a:cubicBezTo>
                    <a:pt x="1120" y="193"/>
                    <a:pt x="1115" y="200"/>
                    <a:pt x="1110" y="208"/>
                  </a:cubicBezTo>
                  <a:cubicBezTo>
                    <a:pt x="1089" y="206"/>
                    <a:pt x="1070" y="197"/>
                    <a:pt x="1050" y="190"/>
                  </a:cubicBezTo>
                  <a:cubicBezTo>
                    <a:pt x="1051" y="141"/>
                    <a:pt x="1053" y="92"/>
                    <a:pt x="1052" y="42"/>
                  </a:cubicBezTo>
                  <a:cubicBezTo>
                    <a:pt x="1052" y="34"/>
                    <a:pt x="1052" y="26"/>
                    <a:pt x="1052" y="17"/>
                  </a:cubicBezTo>
                  <a:cubicBezTo>
                    <a:pt x="1050" y="17"/>
                    <a:pt x="1048" y="16"/>
                    <a:pt x="1047" y="16"/>
                  </a:cubicBezTo>
                  <a:cubicBezTo>
                    <a:pt x="1013" y="7"/>
                    <a:pt x="981" y="3"/>
                    <a:pt x="947" y="0"/>
                  </a:cubicBezTo>
                  <a:cubicBezTo>
                    <a:pt x="944" y="7"/>
                    <a:pt x="941" y="13"/>
                    <a:pt x="939" y="19"/>
                  </a:cubicBezTo>
                  <a:cubicBezTo>
                    <a:pt x="926" y="61"/>
                    <a:pt x="913" y="103"/>
                    <a:pt x="900" y="145"/>
                  </a:cubicBezTo>
                  <a:cubicBezTo>
                    <a:pt x="898" y="152"/>
                    <a:pt x="896" y="159"/>
                    <a:pt x="893" y="166"/>
                  </a:cubicBezTo>
                  <a:lnTo>
                    <a:pt x="834" y="166"/>
                  </a:lnTo>
                  <a:cubicBezTo>
                    <a:pt x="831" y="159"/>
                    <a:pt x="828" y="153"/>
                    <a:pt x="826" y="146"/>
                  </a:cubicBezTo>
                  <a:cubicBezTo>
                    <a:pt x="814" y="106"/>
                    <a:pt x="803" y="67"/>
                    <a:pt x="791" y="27"/>
                  </a:cubicBezTo>
                  <a:cubicBezTo>
                    <a:pt x="788" y="18"/>
                    <a:pt x="787" y="9"/>
                    <a:pt x="778" y="0"/>
                  </a:cubicBezTo>
                  <a:cubicBezTo>
                    <a:pt x="764" y="2"/>
                    <a:pt x="749" y="3"/>
                    <a:pt x="734" y="5"/>
                  </a:cubicBezTo>
                  <a:cubicBezTo>
                    <a:pt x="715" y="8"/>
                    <a:pt x="696" y="12"/>
                    <a:pt x="677" y="17"/>
                  </a:cubicBezTo>
                  <a:cubicBezTo>
                    <a:pt x="671" y="36"/>
                    <a:pt x="674" y="55"/>
                    <a:pt x="674" y="74"/>
                  </a:cubicBezTo>
                  <a:cubicBezTo>
                    <a:pt x="674" y="93"/>
                    <a:pt x="674" y="113"/>
                    <a:pt x="675" y="133"/>
                  </a:cubicBezTo>
                  <a:cubicBezTo>
                    <a:pt x="675" y="138"/>
                    <a:pt x="675" y="144"/>
                    <a:pt x="676" y="149"/>
                  </a:cubicBezTo>
                  <a:cubicBezTo>
                    <a:pt x="676" y="162"/>
                    <a:pt x="677" y="176"/>
                    <a:pt x="678" y="190"/>
                  </a:cubicBezTo>
                  <a:cubicBezTo>
                    <a:pt x="658" y="197"/>
                    <a:pt x="639" y="203"/>
                    <a:pt x="619" y="209"/>
                  </a:cubicBezTo>
                  <a:cubicBezTo>
                    <a:pt x="615" y="203"/>
                    <a:pt x="610" y="198"/>
                    <a:pt x="606" y="192"/>
                  </a:cubicBezTo>
                  <a:cubicBezTo>
                    <a:pt x="602" y="186"/>
                    <a:pt x="598" y="181"/>
                    <a:pt x="594" y="175"/>
                  </a:cubicBezTo>
                  <a:cubicBezTo>
                    <a:pt x="576" y="148"/>
                    <a:pt x="557" y="121"/>
                    <a:pt x="539" y="94"/>
                  </a:cubicBezTo>
                  <a:cubicBezTo>
                    <a:pt x="533" y="86"/>
                    <a:pt x="526" y="78"/>
                    <a:pt x="520" y="70"/>
                  </a:cubicBezTo>
                  <a:cubicBezTo>
                    <a:pt x="495" y="75"/>
                    <a:pt x="452" y="96"/>
                    <a:pt x="423" y="118"/>
                  </a:cubicBezTo>
                  <a:cubicBezTo>
                    <a:pt x="436" y="173"/>
                    <a:pt x="459" y="226"/>
                    <a:pt x="477" y="280"/>
                  </a:cubicBezTo>
                  <a:cubicBezTo>
                    <a:pt x="463" y="295"/>
                    <a:pt x="445" y="304"/>
                    <a:pt x="429" y="317"/>
                  </a:cubicBezTo>
                  <a:cubicBezTo>
                    <a:pt x="423" y="313"/>
                    <a:pt x="418" y="310"/>
                    <a:pt x="413" y="306"/>
                  </a:cubicBezTo>
                  <a:cubicBezTo>
                    <a:pt x="404" y="299"/>
                    <a:pt x="395" y="293"/>
                    <a:pt x="386" y="285"/>
                  </a:cubicBezTo>
                  <a:cubicBezTo>
                    <a:pt x="363" y="268"/>
                    <a:pt x="340" y="250"/>
                    <a:pt x="317" y="233"/>
                  </a:cubicBezTo>
                  <a:cubicBezTo>
                    <a:pt x="308" y="226"/>
                    <a:pt x="300" y="221"/>
                    <a:pt x="290" y="214"/>
                  </a:cubicBezTo>
                  <a:cubicBezTo>
                    <a:pt x="261" y="236"/>
                    <a:pt x="237" y="262"/>
                    <a:pt x="213" y="289"/>
                  </a:cubicBezTo>
                  <a:cubicBezTo>
                    <a:pt x="224" y="309"/>
                    <a:pt x="238" y="327"/>
                    <a:pt x="251" y="344"/>
                  </a:cubicBezTo>
                  <a:lnTo>
                    <a:pt x="251" y="344"/>
                  </a:lnTo>
                  <a:cubicBezTo>
                    <a:pt x="255" y="350"/>
                    <a:pt x="260" y="355"/>
                    <a:pt x="264" y="361"/>
                  </a:cubicBezTo>
                  <a:cubicBezTo>
                    <a:pt x="270" y="369"/>
                    <a:pt x="276" y="377"/>
                    <a:pt x="283" y="385"/>
                  </a:cubicBezTo>
                  <a:cubicBezTo>
                    <a:pt x="289" y="394"/>
                    <a:pt x="296" y="402"/>
                    <a:pt x="302" y="410"/>
                  </a:cubicBezTo>
                  <a:cubicBezTo>
                    <a:pt x="307" y="416"/>
                    <a:pt x="312" y="422"/>
                    <a:pt x="316" y="428"/>
                  </a:cubicBezTo>
                  <a:cubicBezTo>
                    <a:pt x="305" y="446"/>
                    <a:pt x="293" y="463"/>
                    <a:pt x="280" y="478"/>
                  </a:cubicBezTo>
                  <a:cubicBezTo>
                    <a:pt x="226" y="459"/>
                    <a:pt x="173" y="441"/>
                    <a:pt x="121" y="422"/>
                  </a:cubicBezTo>
                  <a:cubicBezTo>
                    <a:pt x="112" y="432"/>
                    <a:pt x="101" y="447"/>
                    <a:pt x="92" y="465"/>
                  </a:cubicBezTo>
                  <a:cubicBezTo>
                    <a:pt x="88" y="471"/>
                    <a:pt x="85" y="478"/>
                    <a:pt x="82" y="484"/>
                  </a:cubicBezTo>
                  <a:cubicBezTo>
                    <a:pt x="80" y="489"/>
                    <a:pt x="78" y="495"/>
                    <a:pt x="76" y="500"/>
                  </a:cubicBezTo>
                  <a:cubicBezTo>
                    <a:pt x="73" y="506"/>
                    <a:pt x="71" y="513"/>
                    <a:pt x="69" y="519"/>
                  </a:cubicBezTo>
                  <a:cubicBezTo>
                    <a:pt x="74" y="523"/>
                    <a:pt x="79" y="529"/>
                    <a:pt x="85" y="533"/>
                  </a:cubicBezTo>
                  <a:cubicBezTo>
                    <a:pt x="118" y="556"/>
                    <a:pt x="151" y="579"/>
                    <a:pt x="184" y="602"/>
                  </a:cubicBezTo>
                  <a:cubicBezTo>
                    <a:pt x="192" y="607"/>
                    <a:pt x="199" y="613"/>
                    <a:pt x="209" y="619"/>
                  </a:cubicBezTo>
                  <a:cubicBezTo>
                    <a:pt x="202" y="638"/>
                    <a:pt x="196" y="657"/>
                    <a:pt x="190" y="676"/>
                  </a:cubicBezTo>
                  <a:cubicBezTo>
                    <a:pt x="187" y="677"/>
                    <a:pt x="185" y="677"/>
                    <a:pt x="182" y="677"/>
                  </a:cubicBezTo>
                  <a:cubicBezTo>
                    <a:pt x="180" y="677"/>
                    <a:pt x="177" y="677"/>
                    <a:pt x="175" y="677"/>
                  </a:cubicBezTo>
                  <a:lnTo>
                    <a:pt x="175" y="677"/>
                  </a:lnTo>
                  <a:cubicBezTo>
                    <a:pt x="173" y="678"/>
                    <a:pt x="172" y="678"/>
                    <a:pt x="170" y="678"/>
                  </a:cubicBezTo>
                  <a:cubicBezTo>
                    <a:pt x="129" y="677"/>
                    <a:pt x="87" y="676"/>
                    <a:pt x="46" y="675"/>
                  </a:cubicBezTo>
                  <a:cubicBezTo>
                    <a:pt x="37" y="675"/>
                    <a:pt x="27" y="676"/>
                    <a:pt x="19" y="677"/>
                  </a:cubicBezTo>
                  <a:cubicBezTo>
                    <a:pt x="11" y="696"/>
                    <a:pt x="6" y="717"/>
                    <a:pt x="3" y="745"/>
                  </a:cubicBezTo>
                  <a:cubicBezTo>
                    <a:pt x="2" y="756"/>
                    <a:pt x="1" y="768"/>
                    <a:pt x="0" y="781"/>
                  </a:cubicBezTo>
                  <a:cubicBezTo>
                    <a:pt x="6" y="784"/>
                    <a:pt x="11" y="787"/>
                    <a:pt x="17" y="789"/>
                  </a:cubicBezTo>
                  <a:cubicBezTo>
                    <a:pt x="30" y="793"/>
                    <a:pt x="43" y="797"/>
                    <a:pt x="55" y="800"/>
                  </a:cubicBezTo>
                  <a:cubicBezTo>
                    <a:pt x="72" y="805"/>
                    <a:pt x="88" y="810"/>
                    <a:pt x="104" y="815"/>
                  </a:cubicBezTo>
                  <a:cubicBezTo>
                    <a:pt x="117" y="819"/>
                    <a:pt x="131" y="823"/>
                    <a:pt x="144" y="827"/>
                  </a:cubicBezTo>
                  <a:cubicBezTo>
                    <a:pt x="151" y="829"/>
                    <a:pt x="158" y="832"/>
                    <a:pt x="165" y="834"/>
                  </a:cubicBezTo>
                  <a:lnTo>
                    <a:pt x="165" y="895"/>
                  </a:lnTo>
                  <a:cubicBezTo>
                    <a:pt x="149" y="900"/>
                    <a:pt x="133" y="905"/>
                    <a:pt x="117" y="909"/>
                  </a:cubicBezTo>
                  <a:lnTo>
                    <a:pt x="117" y="909"/>
                  </a:lnTo>
                  <a:cubicBezTo>
                    <a:pt x="88" y="917"/>
                    <a:pt x="60" y="925"/>
                    <a:pt x="33" y="934"/>
                  </a:cubicBezTo>
                  <a:cubicBezTo>
                    <a:pt x="22" y="938"/>
                    <a:pt x="12" y="942"/>
                    <a:pt x="1" y="946"/>
                  </a:cubicBezTo>
                  <a:cubicBezTo>
                    <a:pt x="0" y="976"/>
                    <a:pt x="6" y="1015"/>
                    <a:pt x="17" y="1051"/>
                  </a:cubicBezTo>
                  <a:cubicBezTo>
                    <a:pt x="29" y="1055"/>
                    <a:pt x="42" y="1054"/>
                    <a:pt x="56" y="1054"/>
                  </a:cubicBezTo>
                  <a:cubicBezTo>
                    <a:pt x="61" y="1054"/>
                    <a:pt x="67" y="1053"/>
                    <a:pt x="72" y="1054"/>
                  </a:cubicBezTo>
                  <a:cubicBezTo>
                    <a:pt x="91" y="1054"/>
                    <a:pt x="110" y="1054"/>
                    <a:pt x="128" y="1053"/>
                  </a:cubicBezTo>
                  <a:lnTo>
                    <a:pt x="131" y="1053"/>
                  </a:lnTo>
                  <a:cubicBezTo>
                    <a:pt x="147" y="1052"/>
                    <a:pt x="163" y="1051"/>
                    <a:pt x="179" y="1050"/>
                  </a:cubicBezTo>
                  <a:lnTo>
                    <a:pt x="188" y="1050"/>
                  </a:lnTo>
                  <a:cubicBezTo>
                    <a:pt x="190" y="1054"/>
                    <a:pt x="192" y="1059"/>
                    <a:pt x="194" y="1063"/>
                  </a:cubicBezTo>
                  <a:cubicBezTo>
                    <a:pt x="200" y="1078"/>
                    <a:pt x="204" y="1094"/>
                    <a:pt x="208" y="1110"/>
                  </a:cubicBezTo>
                  <a:cubicBezTo>
                    <a:pt x="205" y="1112"/>
                    <a:pt x="202" y="1115"/>
                    <a:pt x="198" y="1117"/>
                  </a:cubicBezTo>
                  <a:cubicBezTo>
                    <a:pt x="178" y="1130"/>
                    <a:pt x="158" y="1144"/>
                    <a:pt x="138" y="1158"/>
                  </a:cubicBezTo>
                  <a:cubicBezTo>
                    <a:pt x="115" y="1174"/>
                    <a:pt x="92" y="1191"/>
                    <a:pt x="70" y="1206"/>
                  </a:cubicBezTo>
                  <a:cubicBezTo>
                    <a:pt x="71" y="1213"/>
                    <a:pt x="73" y="1221"/>
                    <a:pt x="76" y="1229"/>
                  </a:cubicBezTo>
                  <a:cubicBezTo>
                    <a:pt x="78" y="1233"/>
                    <a:pt x="79" y="1238"/>
                    <a:pt x="81" y="1242"/>
                  </a:cubicBezTo>
                  <a:lnTo>
                    <a:pt x="81" y="1242"/>
                  </a:lnTo>
                  <a:cubicBezTo>
                    <a:pt x="91" y="1263"/>
                    <a:pt x="104" y="1286"/>
                    <a:pt x="117" y="1305"/>
                  </a:cubicBezTo>
                  <a:cubicBezTo>
                    <a:pt x="124" y="1303"/>
                    <a:pt x="131" y="1302"/>
                    <a:pt x="138" y="1300"/>
                  </a:cubicBezTo>
                  <a:cubicBezTo>
                    <a:pt x="176" y="1287"/>
                    <a:pt x="214" y="1273"/>
                    <a:pt x="252" y="1260"/>
                  </a:cubicBezTo>
                  <a:cubicBezTo>
                    <a:pt x="261" y="1257"/>
                    <a:pt x="270" y="1254"/>
                    <a:pt x="280" y="1250"/>
                  </a:cubicBezTo>
                  <a:cubicBezTo>
                    <a:pt x="292" y="1266"/>
                    <a:pt x="304" y="1282"/>
                    <a:pt x="316" y="1299"/>
                  </a:cubicBezTo>
                  <a:cubicBezTo>
                    <a:pt x="313" y="1304"/>
                    <a:pt x="309" y="1310"/>
                    <a:pt x="306" y="1315"/>
                  </a:cubicBezTo>
                  <a:cubicBezTo>
                    <a:pt x="280" y="1348"/>
                    <a:pt x="255" y="1380"/>
                    <a:pt x="230" y="1413"/>
                  </a:cubicBezTo>
                  <a:cubicBezTo>
                    <a:pt x="224" y="1421"/>
                    <a:pt x="219" y="1429"/>
                    <a:pt x="215" y="1436"/>
                  </a:cubicBezTo>
                  <a:cubicBezTo>
                    <a:pt x="225" y="1456"/>
                    <a:pt x="260" y="1493"/>
                    <a:pt x="290" y="1514"/>
                  </a:cubicBezTo>
                  <a:cubicBezTo>
                    <a:pt x="314" y="1499"/>
                    <a:pt x="337" y="1482"/>
                    <a:pt x="360" y="1464"/>
                  </a:cubicBezTo>
                  <a:cubicBezTo>
                    <a:pt x="382" y="1447"/>
                    <a:pt x="404" y="1429"/>
                    <a:pt x="428" y="1411"/>
                  </a:cubicBezTo>
                  <a:cubicBezTo>
                    <a:pt x="444" y="1423"/>
                    <a:pt x="460" y="1434"/>
                    <a:pt x="477" y="1446"/>
                  </a:cubicBezTo>
                  <a:cubicBezTo>
                    <a:pt x="475" y="1453"/>
                    <a:pt x="474" y="1459"/>
                    <a:pt x="472" y="1465"/>
                  </a:cubicBezTo>
                  <a:cubicBezTo>
                    <a:pt x="458" y="1505"/>
                    <a:pt x="444" y="1545"/>
                    <a:pt x="430" y="1585"/>
                  </a:cubicBezTo>
                  <a:cubicBezTo>
                    <a:pt x="427" y="1593"/>
                    <a:pt x="425" y="1601"/>
                    <a:pt x="423" y="1608"/>
                  </a:cubicBezTo>
                  <a:cubicBezTo>
                    <a:pt x="440" y="1625"/>
                    <a:pt x="485" y="1649"/>
                    <a:pt x="519" y="1659"/>
                  </a:cubicBezTo>
                  <a:cubicBezTo>
                    <a:pt x="524" y="1653"/>
                    <a:pt x="530" y="1646"/>
                    <a:pt x="536" y="1638"/>
                  </a:cubicBezTo>
                  <a:cubicBezTo>
                    <a:pt x="558" y="1606"/>
                    <a:pt x="580" y="1573"/>
                    <a:pt x="603" y="1541"/>
                  </a:cubicBezTo>
                  <a:cubicBezTo>
                    <a:pt x="608" y="1534"/>
                    <a:pt x="612" y="1527"/>
                    <a:pt x="618" y="1520"/>
                  </a:cubicBezTo>
                  <a:cubicBezTo>
                    <a:pt x="639" y="1525"/>
                    <a:pt x="658" y="1531"/>
                    <a:pt x="678" y="1540"/>
                  </a:cubicBezTo>
                  <a:cubicBezTo>
                    <a:pt x="674" y="1597"/>
                    <a:pt x="673" y="1653"/>
                    <a:pt x="674" y="1708"/>
                  </a:cubicBezTo>
                  <a:cubicBezTo>
                    <a:pt x="699" y="1720"/>
                    <a:pt x="746" y="1727"/>
                    <a:pt x="782" y="1726"/>
                  </a:cubicBezTo>
                  <a:cubicBezTo>
                    <a:pt x="803" y="1674"/>
                    <a:pt x="816" y="1618"/>
                    <a:pt x="832" y="1563"/>
                  </a:cubicBezTo>
                  <a:lnTo>
                    <a:pt x="894" y="1563"/>
                  </a:lnTo>
                  <a:cubicBezTo>
                    <a:pt x="911" y="1618"/>
                    <a:pt x="924" y="1673"/>
                    <a:pt x="945" y="1727"/>
                  </a:cubicBezTo>
                  <a:cubicBezTo>
                    <a:pt x="981" y="1727"/>
                    <a:pt x="1015" y="1720"/>
                    <a:pt x="1050" y="1712"/>
                  </a:cubicBezTo>
                  <a:cubicBezTo>
                    <a:pt x="1055" y="1693"/>
                    <a:pt x="1052" y="1674"/>
                    <a:pt x="1052" y="1656"/>
                  </a:cubicBezTo>
                  <a:cubicBezTo>
                    <a:pt x="1053" y="1636"/>
                    <a:pt x="1052" y="1616"/>
                    <a:pt x="1052" y="1597"/>
                  </a:cubicBezTo>
                  <a:lnTo>
                    <a:pt x="1052" y="1539"/>
                  </a:lnTo>
                  <a:cubicBezTo>
                    <a:pt x="1069" y="1531"/>
                    <a:pt x="1088" y="1524"/>
                    <a:pt x="1110" y="1520"/>
                  </a:cubicBezTo>
                  <a:cubicBezTo>
                    <a:pt x="1141" y="1567"/>
                    <a:pt x="1172" y="1615"/>
                    <a:pt x="1206" y="1658"/>
                  </a:cubicBezTo>
                  <a:cubicBezTo>
                    <a:pt x="1230" y="1654"/>
                    <a:pt x="1274" y="1633"/>
                    <a:pt x="1304" y="1610"/>
                  </a:cubicBezTo>
                  <a:cubicBezTo>
                    <a:pt x="1291" y="1556"/>
                    <a:pt x="1268" y="1503"/>
                    <a:pt x="1249" y="1448"/>
                  </a:cubicBezTo>
                  <a:cubicBezTo>
                    <a:pt x="1265" y="1436"/>
                    <a:pt x="1281" y="1424"/>
                    <a:pt x="1298" y="1411"/>
                  </a:cubicBezTo>
                  <a:cubicBezTo>
                    <a:pt x="1304" y="1416"/>
                    <a:pt x="1310" y="1419"/>
                    <a:pt x="1316" y="1424"/>
                  </a:cubicBezTo>
                  <a:cubicBezTo>
                    <a:pt x="1350" y="1449"/>
                    <a:pt x="1383" y="1475"/>
                    <a:pt x="1417" y="1501"/>
                  </a:cubicBezTo>
                  <a:cubicBezTo>
                    <a:pt x="1423" y="1506"/>
                    <a:pt x="1431" y="1510"/>
                    <a:pt x="1437" y="1514"/>
                  </a:cubicBezTo>
                  <a:cubicBezTo>
                    <a:pt x="1462" y="1496"/>
                    <a:pt x="1493" y="1465"/>
                    <a:pt x="1513" y="1439"/>
                  </a:cubicBezTo>
                  <a:cubicBezTo>
                    <a:pt x="1499" y="1414"/>
                    <a:pt x="1481" y="1391"/>
                    <a:pt x="1463" y="1368"/>
                  </a:cubicBezTo>
                  <a:cubicBezTo>
                    <a:pt x="1446" y="1346"/>
                    <a:pt x="1429" y="1324"/>
                    <a:pt x="1411" y="1301"/>
                  </a:cubicBezTo>
                  <a:cubicBezTo>
                    <a:pt x="1416" y="1292"/>
                    <a:pt x="1422" y="1283"/>
                    <a:pt x="1428" y="1275"/>
                  </a:cubicBezTo>
                  <a:cubicBezTo>
                    <a:pt x="1434" y="1267"/>
                    <a:pt x="1440" y="1258"/>
                    <a:pt x="1448" y="1250"/>
                  </a:cubicBezTo>
                  <a:lnTo>
                    <a:pt x="1448" y="1250"/>
                  </a:lnTo>
                  <a:cubicBezTo>
                    <a:pt x="1502" y="1269"/>
                    <a:pt x="1555" y="1292"/>
                    <a:pt x="1609" y="1305"/>
                  </a:cubicBezTo>
                  <a:cubicBezTo>
                    <a:pt x="1628" y="1280"/>
                    <a:pt x="1648" y="1242"/>
                    <a:pt x="1658" y="1210"/>
                  </a:cubicBezTo>
                  <a:cubicBezTo>
                    <a:pt x="1654" y="1206"/>
                    <a:pt x="1650" y="1201"/>
                    <a:pt x="1645" y="1198"/>
                  </a:cubicBezTo>
                  <a:cubicBezTo>
                    <a:pt x="1611" y="1174"/>
                    <a:pt x="1577" y="1150"/>
                    <a:pt x="1543" y="1127"/>
                  </a:cubicBezTo>
                  <a:cubicBezTo>
                    <a:pt x="1535" y="1121"/>
                    <a:pt x="1527" y="1116"/>
                    <a:pt x="1519" y="1110"/>
                  </a:cubicBezTo>
                  <a:cubicBezTo>
                    <a:pt x="1524" y="1089"/>
                    <a:pt x="1530" y="1070"/>
                    <a:pt x="1539" y="1050"/>
                  </a:cubicBezTo>
                  <a:cubicBezTo>
                    <a:pt x="1552" y="1051"/>
                    <a:pt x="1565" y="1052"/>
                    <a:pt x="1578" y="1052"/>
                  </a:cubicBezTo>
                  <a:cubicBezTo>
                    <a:pt x="1591" y="1053"/>
                    <a:pt x="1604" y="1053"/>
                    <a:pt x="1618" y="1053"/>
                  </a:cubicBezTo>
                  <a:cubicBezTo>
                    <a:pt x="1648" y="1054"/>
                    <a:pt x="1678" y="1054"/>
                    <a:pt x="1709" y="1053"/>
                  </a:cubicBezTo>
                  <a:cubicBezTo>
                    <a:pt x="1718" y="1033"/>
                    <a:pt x="1718" y="1011"/>
                    <a:pt x="1723" y="990"/>
                  </a:cubicBezTo>
                  <a:cubicBezTo>
                    <a:pt x="1724" y="984"/>
                    <a:pt x="1723" y="978"/>
                    <a:pt x="1726" y="973"/>
                  </a:cubicBezTo>
                  <a:cubicBezTo>
                    <a:pt x="1727" y="970"/>
                    <a:pt x="1732" y="967"/>
                    <a:pt x="1735" y="964"/>
                  </a:cubicBezTo>
                  <a:lnTo>
                    <a:pt x="1735" y="947"/>
                  </a:lnTo>
                  <a:cubicBezTo>
                    <a:pt x="1706" y="938"/>
                    <a:pt x="1677" y="929"/>
                    <a:pt x="1649" y="920"/>
                  </a:cubicBezTo>
                  <a:cubicBezTo>
                    <a:pt x="1620" y="912"/>
                    <a:pt x="1591" y="904"/>
                    <a:pt x="1561" y="895"/>
                  </a:cubicBezTo>
                  <a:lnTo>
                    <a:pt x="1561" y="835"/>
                  </a:lnTo>
                  <a:cubicBezTo>
                    <a:pt x="1567" y="833"/>
                    <a:pt x="1571" y="830"/>
                    <a:pt x="1575" y="829"/>
                  </a:cubicBez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42">
              <a:extLst>
                <a:ext uri="{FF2B5EF4-FFF2-40B4-BE49-F238E27FC236}">
                  <a16:creationId xmlns:a16="http://schemas.microsoft.com/office/drawing/2014/main" id="{D81F804D-FD08-AC3D-8100-3EE5309D2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00600" y="2590800"/>
              <a:ext cx="274638" cy="276225"/>
            </a:xfrm>
            <a:custGeom>
              <a:avLst/>
              <a:gdLst>
                <a:gd name="T0" fmla="*/ 284 w 608"/>
                <a:gd name="T1" fmla="*/ 1 h 608"/>
                <a:gd name="T2" fmla="*/ 263 w 608"/>
                <a:gd name="T3" fmla="*/ 3 h 608"/>
                <a:gd name="T4" fmla="*/ 245 w 608"/>
                <a:gd name="T5" fmla="*/ 6 h 608"/>
                <a:gd name="T6" fmla="*/ 230 w 608"/>
                <a:gd name="T7" fmla="*/ 10 h 608"/>
                <a:gd name="T8" fmla="*/ 223 w 608"/>
                <a:gd name="T9" fmla="*/ 12 h 608"/>
                <a:gd name="T10" fmla="*/ 185 w 608"/>
                <a:gd name="T11" fmla="*/ 25 h 608"/>
                <a:gd name="T12" fmla="*/ 169 w 608"/>
                <a:gd name="T13" fmla="*/ 33 h 608"/>
                <a:gd name="T14" fmla="*/ 138 w 608"/>
                <a:gd name="T15" fmla="*/ 51 h 608"/>
                <a:gd name="T16" fmla="*/ 123 w 608"/>
                <a:gd name="T17" fmla="*/ 61 h 608"/>
                <a:gd name="T18" fmla="*/ 107 w 608"/>
                <a:gd name="T19" fmla="*/ 73 h 608"/>
                <a:gd name="T20" fmla="*/ 95 w 608"/>
                <a:gd name="T21" fmla="*/ 85 h 608"/>
                <a:gd name="T22" fmla="*/ 67 w 608"/>
                <a:gd name="T23" fmla="*/ 115 h 608"/>
                <a:gd name="T24" fmla="*/ 56 w 608"/>
                <a:gd name="T25" fmla="*/ 129 h 608"/>
                <a:gd name="T26" fmla="*/ 50 w 608"/>
                <a:gd name="T27" fmla="*/ 139 h 608"/>
                <a:gd name="T28" fmla="*/ 36 w 608"/>
                <a:gd name="T29" fmla="*/ 161 h 608"/>
                <a:gd name="T30" fmla="*/ 13 w 608"/>
                <a:gd name="T31" fmla="*/ 215 h 608"/>
                <a:gd name="T32" fmla="*/ 2 w 608"/>
                <a:gd name="T33" fmla="*/ 271 h 608"/>
                <a:gd name="T34" fmla="*/ 0 w 608"/>
                <a:gd name="T35" fmla="*/ 290 h 608"/>
                <a:gd name="T36" fmla="*/ 0 w 608"/>
                <a:gd name="T37" fmla="*/ 307 h 608"/>
                <a:gd name="T38" fmla="*/ 1 w 608"/>
                <a:gd name="T39" fmla="*/ 334 h 608"/>
                <a:gd name="T40" fmla="*/ 3 w 608"/>
                <a:gd name="T41" fmla="*/ 350 h 608"/>
                <a:gd name="T42" fmla="*/ 6 w 608"/>
                <a:gd name="T43" fmla="*/ 365 h 608"/>
                <a:gd name="T44" fmla="*/ 17 w 608"/>
                <a:gd name="T45" fmla="*/ 406 h 608"/>
                <a:gd name="T46" fmla="*/ 23 w 608"/>
                <a:gd name="T47" fmla="*/ 420 h 608"/>
                <a:gd name="T48" fmla="*/ 29 w 608"/>
                <a:gd name="T49" fmla="*/ 433 h 608"/>
                <a:gd name="T50" fmla="*/ 36 w 608"/>
                <a:gd name="T51" fmla="*/ 448 h 608"/>
                <a:gd name="T52" fmla="*/ 52 w 608"/>
                <a:gd name="T53" fmla="*/ 474 h 608"/>
                <a:gd name="T54" fmla="*/ 59 w 608"/>
                <a:gd name="T55" fmla="*/ 484 h 608"/>
                <a:gd name="T56" fmla="*/ 70 w 608"/>
                <a:gd name="T57" fmla="*/ 497 h 608"/>
                <a:gd name="T58" fmla="*/ 112 w 608"/>
                <a:gd name="T59" fmla="*/ 539 h 608"/>
                <a:gd name="T60" fmla="*/ 134 w 608"/>
                <a:gd name="T61" fmla="*/ 556 h 608"/>
                <a:gd name="T62" fmla="*/ 145 w 608"/>
                <a:gd name="T63" fmla="*/ 563 h 608"/>
                <a:gd name="T64" fmla="*/ 167 w 608"/>
                <a:gd name="T65" fmla="*/ 575 h 608"/>
                <a:gd name="T66" fmla="*/ 185 w 608"/>
                <a:gd name="T67" fmla="*/ 584 h 608"/>
                <a:gd name="T68" fmla="*/ 210 w 608"/>
                <a:gd name="T69" fmla="*/ 593 h 608"/>
                <a:gd name="T70" fmla="*/ 246 w 608"/>
                <a:gd name="T71" fmla="*/ 602 h 608"/>
                <a:gd name="T72" fmla="*/ 271 w 608"/>
                <a:gd name="T73" fmla="*/ 606 h 608"/>
                <a:gd name="T74" fmla="*/ 283 w 608"/>
                <a:gd name="T75" fmla="*/ 607 h 608"/>
                <a:gd name="T76" fmla="*/ 306 w 608"/>
                <a:gd name="T77" fmla="*/ 608 h 608"/>
                <a:gd name="T78" fmla="*/ 348 w 608"/>
                <a:gd name="T79" fmla="*/ 605 h 608"/>
                <a:gd name="T80" fmla="*/ 366 w 608"/>
                <a:gd name="T81" fmla="*/ 602 h 608"/>
                <a:gd name="T82" fmla="*/ 380 w 608"/>
                <a:gd name="T83" fmla="*/ 598 h 608"/>
                <a:gd name="T84" fmla="*/ 402 w 608"/>
                <a:gd name="T85" fmla="*/ 592 h 608"/>
                <a:gd name="T86" fmla="*/ 421 w 608"/>
                <a:gd name="T87" fmla="*/ 584 h 608"/>
                <a:gd name="T88" fmla="*/ 448 w 608"/>
                <a:gd name="T89" fmla="*/ 571 h 608"/>
                <a:gd name="T90" fmla="*/ 461 w 608"/>
                <a:gd name="T91" fmla="*/ 564 h 608"/>
                <a:gd name="T92" fmla="*/ 524 w 608"/>
                <a:gd name="T93" fmla="*/ 513 h 608"/>
                <a:gd name="T94" fmla="*/ 552 w 608"/>
                <a:gd name="T95" fmla="*/ 479 h 608"/>
                <a:gd name="T96" fmla="*/ 566 w 608"/>
                <a:gd name="T97" fmla="*/ 456 h 608"/>
                <a:gd name="T98" fmla="*/ 573 w 608"/>
                <a:gd name="T99" fmla="*/ 443 h 608"/>
                <a:gd name="T100" fmla="*/ 589 w 608"/>
                <a:gd name="T101" fmla="*/ 409 h 608"/>
                <a:gd name="T102" fmla="*/ 605 w 608"/>
                <a:gd name="T103" fmla="*/ 339 h 608"/>
                <a:gd name="T104" fmla="*/ 302 w 608"/>
                <a:gd name="T105" fmla="*/ 1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08" h="608">
                  <a:moveTo>
                    <a:pt x="302" y="1"/>
                  </a:moveTo>
                  <a:cubicBezTo>
                    <a:pt x="296" y="1"/>
                    <a:pt x="290" y="1"/>
                    <a:pt x="284" y="1"/>
                  </a:cubicBezTo>
                  <a:cubicBezTo>
                    <a:pt x="279" y="2"/>
                    <a:pt x="274" y="2"/>
                    <a:pt x="269" y="3"/>
                  </a:cubicBezTo>
                  <a:cubicBezTo>
                    <a:pt x="267" y="3"/>
                    <a:pt x="265" y="3"/>
                    <a:pt x="263" y="3"/>
                  </a:cubicBezTo>
                  <a:cubicBezTo>
                    <a:pt x="259" y="4"/>
                    <a:pt x="256" y="4"/>
                    <a:pt x="252" y="5"/>
                  </a:cubicBezTo>
                  <a:cubicBezTo>
                    <a:pt x="250" y="5"/>
                    <a:pt x="248" y="6"/>
                    <a:pt x="245" y="6"/>
                  </a:cubicBezTo>
                  <a:cubicBezTo>
                    <a:pt x="243" y="7"/>
                    <a:pt x="240" y="7"/>
                    <a:pt x="237" y="8"/>
                  </a:cubicBezTo>
                  <a:cubicBezTo>
                    <a:pt x="235" y="9"/>
                    <a:pt x="232" y="9"/>
                    <a:pt x="230" y="10"/>
                  </a:cubicBezTo>
                  <a:cubicBezTo>
                    <a:pt x="228" y="10"/>
                    <a:pt x="225" y="11"/>
                    <a:pt x="223" y="12"/>
                  </a:cubicBezTo>
                  <a:lnTo>
                    <a:pt x="223" y="12"/>
                  </a:lnTo>
                  <a:cubicBezTo>
                    <a:pt x="220" y="12"/>
                    <a:pt x="218" y="13"/>
                    <a:pt x="216" y="14"/>
                  </a:cubicBezTo>
                  <a:cubicBezTo>
                    <a:pt x="205" y="17"/>
                    <a:pt x="195" y="21"/>
                    <a:pt x="185" y="25"/>
                  </a:cubicBezTo>
                  <a:lnTo>
                    <a:pt x="184" y="26"/>
                  </a:lnTo>
                  <a:cubicBezTo>
                    <a:pt x="179" y="28"/>
                    <a:pt x="174" y="30"/>
                    <a:pt x="169" y="33"/>
                  </a:cubicBezTo>
                  <a:cubicBezTo>
                    <a:pt x="163" y="36"/>
                    <a:pt x="157" y="39"/>
                    <a:pt x="152" y="42"/>
                  </a:cubicBezTo>
                  <a:cubicBezTo>
                    <a:pt x="147" y="44"/>
                    <a:pt x="142" y="47"/>
                    <a:pt x="138" y="51"/>
                  </a:cubicBezTo>
                  <a:lnTo>
                    <a:pt x="135" y="52"/>
                  </a:lnTo>
                  <a:cubicBezTo>
                    <a:pt x="131" y="55"/>
                    <a:pt x="127" y="58"/>
                    <a:pt x="123" y="61"/>
                  </a:cubicBezTo>
                  <a:cubicBezTo>
                    <a:pt x="121" y="62"/>
                    <a:pt x="120" y="63"/>
                    <a:pt x="118" y="65"/>
                  </a:cubicBezTo>
                  <a:cubicBezTo>
                    <a:pt x="114" y="67"/>
                    <a:pt x="111" y="70"/>
                    <a:pt x="107" y="73"/>
                  </a:cubicBezTo>
                  <a:lnTo>
                    <a:pt x="104" y="76"/>
                  </a:lnTo>
                  <a:cubicBezTo>
                    <a:pt x="101" y="79"/>
                    <a:pt x="98" y="82"/>
                    <a:pt x="95" y="85"/>
                  </a:cubicBezTo>
                  <a:cubicBezTo>
                    <a:pt x="89" y="90"/>
                    <a:pt x="84" y="96"/>
                    <a:pt x="78" y="102"/>
                  </a:cubicBezTo>
                  <a:cubicBezTo>
                    <a:pt x="75" y="106"/>
                    <a:pt x="71" y="110"/>
                    <a:pt x="67" y="115"/>
                  </a:cubicBezTo>
                  <a:cubicBezTo>
                    <a:pt x="63" y="119"/>
                    <a:pt x="60" y="124"/>
                    <a:pt x="56" y="129"/>
                  </a:cubicBezTo>
                  <a:lnTo>
                    <a:pt x="56" y="129"/>
                  </a:lnTo>
                  <a:lnTo>
                    <a:pt x="56" y="130"/>
                  </a:lnTo>
                  <a:cubicBezTo>
                    <a:pt x="54" y="133"/>
                    <a:pt x="52" y="136"/>
                    <a:pt x="50" y="139"/>
                  </a:cubicBezTo>
                  <a:cubicBezTo>
                    <a:pt x="47" y="142"/>
                    <a:pt x="45" y="145"/>
                    <a:pt x="43" y="149"/>
                  </a:cubicBezTo>
                  <a:cubicBezTo>
                    <a:pt x="41" y="153"/>
                    <a:pt x="39" y="157"/>
                    <a:pt x="36" y="161"/>
                  </a:cubicBezTo>
                  <a:cubicBezTo>
                    <a:pt x="29" y="174"/>
                    <a:pt x="23" y="187"/>
                    <a:pt x="18" y="201"/>
                  </a:cubicBezTo>
                  <a:cubicBezTo>
                    <a:pt x="16" y="206"/>
                    <a:pt x="15" y="211"/>
                    <a:pt x="13" y="215"/>
                  </a:cubicBezTo>
                  <a:cubicBezTo>
                    <a:pt x="12" y="219"/>
                    <a:pt x="11" y="223"/>
                    <a:pt x="10" y="227"/>
                  </a:cubicBezTo>
                  <a:cubicBezTo>
                    <a:pt x="6" y="241"/>
                    <a:pt x="3" y="256"/>
                    <a:pt x="2" y="271"/>
                  </a:cubicBezTo>
                  <a:lnTo>
                    <a:pt x="1" y="280"/>
                  </a:lnTo>
                  <a:cubicBezTo>
                    <a:pt x="0" y="283"/>
                    <a:pt x="0" y="287"/>
                    <a:pt x="0" y="290"/>
                  </a:cubicBezTo>
                  <a:cubicBezTo>
                    <a:pt x="0" y="295"/>
                    <a:pt x="0" y="300"/>
                    <a:pt x="0" y="304"/>
                  </a:cubicBezTo>
                  <a:lnTo>
                    <a:pt x="0" y="307"/>
                  </a:lnTo>
                  <a:cubicBezTo>
                    <a:pt x="0" y="313"/>
                    <a:pt x="0" y="318"/>
                    <a:pt x="0" y="323"/>
                  </a:cubicBezTo>
                  <a:cubicBezTo>
                    <a:pt x="0" y="327"/>
                    <a:pt x="1" y="331"/>
                    <a:pt x="1" y="334"/>
                  </a:cubicBezTo>
                  <a:lnTo>
                    <a:pt x="2" y="338"/>
                  </a:lnTo>
                  <a:cubicBezTo>
                    <a:pt x="2" y="342"/>
                    <a:pt x="2" y="346"/>
                    <a:pt x="3" y="350"/>
                  </a:cubicBezTo>
                  <a:lnTo>
                    <a:pt x="4" y="354"/>
                  </a:lnTo>
                  <a:cubicBezTo>
                    <a:pt x="4" y="358"/>
                    <a:pt x="5" y="361"/>
                    <a:pt x="6" y="365"/>
                  </a:cubicBezTo>
                  <a:cubicBezTo>
                    <a:pt x="7" y="371"/>
                    <a:pt x="9" y="378"/>
                    <a:pt x="10" y="384"/>
                  </a:cubicBezTo>
                  <a:cubicBezTo>
                    <a:pt x="12" y="391"/>
                    <a:pt x="15" y="398"/>
                    <a:pt x="17" y="406"/>
                  </a:cubicBezTo>
                  <a:lnTo>
                    <a:pt x="19" y="409"/>
                  </a:lnTo>
                  <a:cubicBezTo>
                    <a:pt x="20" y="413"/>
                    <a:pt x="21" y="416"/>
                    <a:pt x="23" y="420"/>
                  </a:cubicBezTo>
                  <a:lnTo>
                    <a:pt x="24" y="423"/>
                  </a:lnTo>
                  <a:cubicBezTo>
                    <a:pt x="26" y="426"/>
                    <a:pt x="27" y="430"/>
                    <a:pt x="29" y="433"/>
                  </a:cubicBezTo>
                  <a:lnTo>
                    <a:pt x="31" y="437"/>
                  </a:lnTo>
                  <a:cubicBezTo>
                    <a:pt x="32" y="441"/>
                    <a:pt x="34" y="444"/>
                    <a:pt x="36" y="448"/>
                  </a:cubicBezTo>
                  <a:cubicBezTo>
                    <a:pt x="39" y="452"/>
                    <a:pt x="41" y="456"/>
                    <a:pt x="44" y="461"/>
                  </a:cubicBezTo>
                  <a:cubicBezTo>
                    <a:pt x="46" y="465"/>
                    <a:pt x="49" y="469"/>
                    <a:pt x="52" y="474"/>
                  </a:cubicBezTo>
                  <a:cubicBezTo>
                    <a:pt x="54" y="477"/>
                    <a:pt x="57" y="480"/>
                    <a:pt x="59" y="484"/>
                  </a:cubicBezTo>
                  <a:lnTo>
                    <a:pt x="59" y="484"/>
                  </a:lnTo>
                  <a:lnTo>
                    <a:pt x="62" y="487"/>
                  </a:lnTo>
                  <a:cubicBezTo>
                    <a:pt x="64" y="490"/>
                    <a:pt x="67" y="494"/>
                    <a:pt x="70" y="497"/>
                  </a:cubicBezTo>
                  <a:cubicBezTo>
                    <a:pt x="72" y="500"/>
                    <a:pt x="74" y="502"/>
                    <a:pt x="76" y="505"/>
                  </a:cubicBezTo>
                  <a:cubicBezTo>
                    <a:pt x="87" y="517"/>
                    <a:pt x="99" y="529"/>
                    <a:pt x="112" y="539"/>
                  </a:cubicBezTo>
                  <a:cubicBezTo>
                    <a:pt x="116" y="543"/>
                    <a:pt x="120" y="546"/>
                    <a:pt x="125" y="549"/>
                  </a:cubicBezTo>
                  <a:cubicBezTo>
                    <a:pt x="128" y="551"/>
                    <a:pt x="131" y="554"/>
                    <a:pt x="134" y="556"/>
                  </a:cubicBezTo>
                  <a:lnTo>
                    <a:pt x="138" y="558"/>
                  </a:lnTo>
                  <a:cubicBezTo>
                    <a:pt x="140" y="560"/>
                    <a:pt x="143" y="562"/>
                    <a:pt x="145" y="563"/>
                  </a:cubicBezTo>
                  <a:cubicBezTo>
                    <a:pt x="149" y="565"/>
                    <a:pt x="153" y="568"/>
                    <a:pt x="157" y="570"/>
                  </a:cubicBezTo>
                  <a:cubicBezTo>
                    <a:pt x="160" y="572"/>
                    <a:pt x="163" y="574"/>
                    <a:pt x="167" y="575"/>
                  </a:cubicBezTo>
                  <a:cubicBezTo>
                    <a:pt x="169" y="577"/>
                    <a:pt x="172" y="578"/>
                    <a:pt x="175" y="579"/>
                  </a:cubicBezTo>
                  <a:cubicBezTo>
                    <a:pt x="178" y="581"/>
                    <a:pt x="182" y="582"/>
                    <a:pt x="185" y="584"/>
                  </a:cubicBezTo>
                  <a:cubicBezTo>
                    <a:pt x="190" y="586"/>
                    <a:pt x="194" y="588"/>
                    <a:pt x="198" y="589"/>
                  </a:cubicBezTo>
                  <a:cubicBezTo>
                    <a:pt x="202" y="591"/>
                    <a:pt x="206" y="592"/>
                    <a:pt x="210" y="593"/>
                  </a:cubicBezTo>
                  <a:cubicBezTo>
                    <a:pt x="212" y="594"/>
                    <a:pt x="215" y="595"/>
                    <a:pt x="218" y="596"/>
                  </a:cubicBezTo>
                  <a:cubicBezTo>
                    <a:pt x="227" y="598"/>
                    <a:pt x="236" y="601"/>
                    <a:pt x="246" y="602"/>
                  </a:cubicBezTo>
                  <a:cubicBezTo>
                    <a:pt x="249" y="603"/>
                    <a:pt x="253" y="604"/>
                    <a:pt x="257" y="604"/>
                  </a:cubicBezTo>
                  <a:cubicBezTo>
                    <a:pt x="262" y="605"/>
                    <a:pt x="266" y="606"/>
                    <a:pt x="271" y="606"/>
                  </a:cubicBezTo>
                  <a:lnTo>
                    <a:pt x="273" y="606"/>
                  </a:lnTo>
                  <a:cubicBezTo>
                    <a:pt x="276" y="607"/>
                    <a:pt x="279" y="607"/>
                    <a:pt x="283" y="607"/>
                  </a:cubicBezTo>
                  <a:cubicBezTo>
                    <a:pt x="285" y="608"/>
                    <a:pt x="288" y="608"/>
                    <a:pt x="291" y="608"/>
                  </a:cubicBezTo>
                  <a:cubicBezTo>
                    <a:pt x="296" y="608"/>
                    <a:pt x="301" y="608"/>
                    <a:pt x="306" y="608"/>
                  </a:cubicBezTo>
                  <a:cubicBezTo>
                    <a:pt x="315" y="608"/>
                    <a:pt x="325" y="608"/>
                    <a:pt x="334" y="607"/>
                  </a:cubicBezTo>
                  <a:cubicBezTo>
                    <a:pt x="339" y="606"/>
                    <a:pt x="344" y="605"/>
                    <a:pt x="348" y="605"/>
                  </a:cubicBezTo>
                  <a:cubicBezTo>
                    <a:pt x="351" y="604"/>
                    <a:pt x="355" y="604"/>
                    <a:pt x="358" y="603"/>
                  </a:cubicBezTo>
                  <a:cubicBezTo>
                    <a:pt x="360" y="603"/>
                    <a:pt x="363" y="602"/>
                    <a:pt x="366" y="602"/>
                  </a:cubicBezTo>
                  <a:lnTo>
                    <a:pt x="366" y="601"/>
                  </a:lnTo>
                  <a:cubicBezTo>
                    <a:pt x="371" y="601"/>
                    <a:pt x="376" y="599"/>
                    <a:pt x="380" y="598"/>
                  </a:cubicBezTo>
                  <a:cubicBezTo>
                    <a:pt x="384" y="597"/>
                    <a:pt x="388" y="596"/>
                    <a:pt x="392" y="595"/>
                  </a:cubicBezTo>
                  <a:cubicBezTo>
                    <a:pt x="395" y="594"/>
                    <a:pt x="398" y="593"/>
                    <a:pt x="402" y="592"/>
                  </a:cubicBezTo>
                  <a:cubicBezTo>
                    <a:pt x="405" y="591"/>
                    <a:pt x="408" y="590"/>
                    <a:pt x="410" y="588"/>
                  </a:cubicBezTo>
                  <a:cubicBezTo>
                    <a:pt x="414" y="587"/>
                    <a:pt x="418" y="586"/>
                    <a:pt x="421" y="584"/>
                  </a:cubicBezTo>
                  <a:cubicBezTo>
                    <a:pt x="426" y="582"/>
                    <a:pt x="431" y="580"/>
                    <a:pt x="435" y="578"/>
                  </a:cubicBezTo>
                  <a:cubicBezTo>
                    <a:pt x="440" y="576"/>
                    <a:pt x="444" y="573"/>
                    <a:pt x="448" y="571"/>
                  </a:cubicBezTo>
                  <a:lnTo>
                    <a:pt x="449" y="571"/>
                  </a:lnTo>
                  <a:cubicBezTo>
                    <a:pt x="453" y="568"/>
                    <a:pt x="457" y="566"/>
                    <a:pt x="461" y="564"/>
                  </a:cubicBezTo>
                  <a:cubicBezTo>
                    <a:pt x="481" y="551"/>
                    <a:pt x="500" y="537"/>
                    <a:pt x="517" y="520"/>
                  </a:cubicBezTo>
                  <a:cubicBezTo>
                    <a:pt x="519" y="518"/>
                    <a:pt x="521" y="515"/>
                    <a:pt x="524" y="513"/>
                  </a:cubicBezTo>
                  <a:cubicBezTo>
                    <a:pt x="531" y="505"/>
                    <a:pt x="538" y="498"/>
                    <a:pt x="544" y="490"/>
                  </a:cubicBezTo>
                  <a:cubicBezTo>
                    <a:pt x="547" y="486"/>
                    <a:pt x="549" y="482"/>
                    <a:pt x="552" y="479"/>
                  </a:cubicBezTo>
                  <a:cubicBezTo>
                    <a:pt x="554" y="475"/>
                    <a:pt x="557" y="471"/>
                    <a:pt x="559" y="467"/>
                  </a:cubicBezTo>
                  <a:cubicBezTo>
                    <a:pt x="562" y="464"/>
                    <a:pt x="564" y="460"/>
                    <a:pt x="566" y="456"/>
                  </a:cubicBezTo>
                  <a:cubicBezTo>
                    <a:pt x="569" y="452"/>
                    <a:pt x="571" y="448"/>
                    <a:pt x="573" y="444"/>
                  </a:cubicBezTo>
                  <a:lnTo>
                    <a:pt x="573" y="443"/>
                  </a:lnTo>
                  <a:cubicBezTo>
                    <a:pt x="575" y="440"/>
                    <a:pt x="577" y="437"/>
                    <a:pt x="578" y="433"/>
                  </a:cubicBezTo>
                  <a:cubicBezTo>
                    <a:pt x="582" y="425"/>
                    <a:pt x="586" y="417"/>
                    <a:pt x="589" y="409"/>
                  </a:cubicBezTo>
                  <a:cubicBezTo>
                    <a:pt x="590" y="406"/>
                    <a:pt x="591" y="402"/>
                    <a:pt x="592" y="399"/>
                  </a:cubicBezTo>
                  <a:cubicBezTo>
                    <a:pt x="599" y="379"/>
                    <a:pt x="603" y="359"/>
                    <a:pt x="605" y="339"/>
                  </a:cubicBezTo>
                  <a:cubicBezTo>
                    <a:pt x="606" y="327"/>
                    <a:pt x="607" y="315"/>
                    <a:pt x="607" y="303"/>
                  </a:cubicBezTo>
                  <a:cubicBezTo>
                    <a:pt x="608" y="136"/>
                    <a:pt x="467" y="0"/>
                    <a:pt x="302" y="1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43">
              <a:extLst>
                <a:ext uri="{FF2B5EF4-FFF2-40B4-BE49-F238E27FC236}">
                  <a16:creationId xmlns:a16="http://schemas.microsoft.com/office/drawing/2014/main" id="{83C353BA-8B0C-D451-E329-7321538EE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38713" y="2447925"/>
              <a:ext cx="555625" cy="561975"/>
            </a:xfrm>
            <a:custGeom>
              <a:avLst/>
              <a:gdLst>
                <a:gd name="T0" fmla="*/ 616 w 1231"/>
                <a:gd name="T1" fmla="*/ 0 h 1230"/>
                <a:gd name="T2" fmla="*/ 563 w 1231"/>
                <a:gd name="T3" fmla="*/ 2 h 1230"/>
                <a:gd name="T4" fmla="*/ 328 w 1231"/>
                <a:gd name="T5" fmla="*/ 71 h 1230"/>
                <a:gd name="T6" fmla="*/ 186 w 1231"/>
                <a:gd name="T7" fmla="*/ 175 h 1230"/>
                <a:gd name="T8" fmla="*/ 156 w 1231"/>
                <a:gd name="T9" fmla="*/ 206 h 1230"/>
                <a:gd name="T10" fmla="*/ 77 w 1231"/>
                <a:gd name="T11" fmla="*/ 318 h 1230"/>
                <a:gd name="T12" fmla="*/ 9 w 1231"/>
                <a:gd name="T13" fmla="*/ 514 h 1230"/>
                <a:gd name="T14" fmla="*/ 0 w 1231"/>
                <a:gd name="T15" fmla="*/ 615 h 1230"/>
                <a:gd name="T16" fmla="*/ 6 w 1231"/>
                <a:gd name="T17" fmla="*/ 698 h 1230"/>
                <a:gd name="T18" fmla="*/ 15 w 1231"/>
                <a:gd name="T19" fmla="*/ 748 h 1230"/>
                <a:gd name="T20" fmla="*/ 39 w 1231"/>
                <a:gd name="T21" fmla="*/ 830 h 1230"/>
                <a:gd name="T22" fmla="*/ 71 w 1231"/>
                <a:gd name="T23" fmla="*/ 901 h 1230"/>
                <a:gd name="T24" fmla="*/ 616 w 1231"/>
                <a:gd name="T25" fmla="*/ 1230 h 1230"/>
                <a:gd name="T26" fmla="*/ 716 w 1231"/>
                <a:gd name="T27" fmla="*/ 1222 h 1230"/>
                <a:gd name="T28" fmla="*/ 1228 w 1231"/>
                <a:gd name="T29" fmla="*/ 667 h 1230"/>
                <a:gd name="T30" fmla="*/ 1231 w 1231"/>
                <a:gd name="T31" fmla="*/ 615 h 1230"/>
                <a:gd name="T32" fmla="*/ 616 w 1231"/>
                <a:gd name="T33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1" h="1230">
                  <a:moveTo>
                    <a:pt x="616" y="0"/>
                  </a:moveTo>
                  <a:cubicBezTo>
                    <a:pt x="598" y="0"/>
                    <a:pt x="580" y="0"/>
                    <a:pt x="563" y="2"/>
                  </a:cubicBezTo>
                  <a:cubicBezTo>
                    <a:pt x="479" y="9"/>
                    <a:pt x="399" y="33"/>
                    <a:pt x="328" y="71"/>
                  </a:cubicBezTo>
                  <a:cubicBezTo>
                    <a:pt x="276" y="99"/>
                    <a:pt x="228" y="134"/>
                    <a:pt x="186" y="175"/>
                  </a:cubicBezTo>
                  <a:cubicBezTo>
                    <a:pt x="175" y="185"/>
                    <a:pt x="165" y="196"/>
                    <a:pt x="156" y="206"/>
                  </a:cubicBezTo>
                  <a:cubicBezTo>
                    <a:pt x="125" y="240"/>
                    <a:pt x="99" y="278"/>
                    <a:pt x="77" y="318"/>
                  </a:cubicBezTo>
                  <a:cubicBezTo>
                    <a:pt x="44" y="378"/>
                    <a:pt x="20" y="444"/>
                    <a:pt x="9" y="514"/>
                  </a:cubicBezTo>
                  <a:cubicBezTo>
                    <a:pt x="3" y="547"/>
                    <a:pt x="0" y="581"/>
                    <a:pt x="0" y="615"/>
                  </a:cubicBezTo>
                  <a:cubicBezTo>
                    <a:pt x="0" y="643"/>
                    <a:pt x="2" y="671"/>
                    <a:pt x="6" y="698"/>
                  </a:cubicBezTo>
                  <a:cubicBezTo>
                    <a:pt x="8" y="715"/>
                    <a:pt x="11" y="732"/>
                    <a:pt x="15" y="748"/>
                  </a:cubicBezTo>
                  <a:cubicBezTo>
                    <a:pt x="21" y="776"/>
                    <a:pt x="29" y="803"/>
                    <a:pt x="39" y="830"/>
                  </a:cubicBezTo>
                  <a:cubicBezTo>
                    <a:pt x="48" y="854"/>
                    <a:pt x="59" y="878"/>
                    <a:pt x="71" y="901"/>
                  </a:cubicBezTo>
                  <a:cubicBezTo>
                    <a:pt x="174" y="1097"/>
                    <a:pt x="379" y="1230"/>
                    <a:pt x="616" y="1230"/>
                  </a:cubicBezTo>
                  <a:cubicBezTo>
                    <a:pt x="650" y="1230"/>
                    <a:pt x="683" y="1227"/>
                    <a:pt x="716" y="1222"/>
                  </a:cubicBezTo>
                  <a:cubicBezTo>
                    <a:pt x="991" y="1177"/>
                    <a:pt x="1205" y="949"/>
                    <a:pt x="1228" y="667"/>
                  </a:cubicBezTo>
                  <a:cubicBezTo>
                    <a:pt x="1230" y="650"/>
                    <a:pt x="1231" y="632"/>
                    <a:pt x="1231" y="615"/>
                  </a:cubicBezTo>
                  <a:cubicBezTo>
                    <a:pt x="1231" y="275"/>
                    <a:pt x="955" y="0"/>
                    <a:pt x="616" y="0"/>
                  </a:cubicBezTo>
                </a:path>
              </a:pathLst>
            </a:custGeom>
            <a:solidFill>
              <a:srgbClr val="767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44">
              <a:extLst>
                <a:ext uri="{FF2B5EF4-FFF2-40B4-BE49-F238E27FC236}">
                  <a16:creationId xmlns:a16="http://schemas.microsoft.com/office/drawing/2014/main" id="{0382B578-463F-FE01-3933-A554876B4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64088" y="2673350"/>
              <a:ext cx="177800" cy="134938"/>
            </a:xfrm>
            <a:custGeom>
              <a:avLst/>
              <a:gdLst>
                <a:gd name="T0" fmla="*/ 228 w 392"/>
                <a:gd name="T1" fmla="*/ 295 h 295"/>
                <a:gd name="T2" fmla="*/ 227 w 392"/>
                <a:gd name="T3" fmla="*/ 295 h 295"/>
                <a:gd name="T4" fmla="*/ 184 w 392"/>
                <a:gd name="T5" fmla="*/ 289 h 295"/>
                <a:gd name="T6" fmla="*/ 15 w 392"/>
                <a:gd name="T7" fmla="*/ 243 h 295"/>
                <a:gd name="T8" fmla="*/ 7 w 392"/>
                <a:gd name="T9" fmla="*/ 241 h 295"/>
                <a:gd name="T10" fmla="*/ 0 w 392"/>
                <a:gd name="T11" fmla="*/ 183 h 295"/>
                <a:gd name="T12" fmla="*/ 97 w 392"/>
                <a:gd name="T13" fmla="*/ 0 h 295"/>
                <a:gd name="T14" fmla="*/ 330 w 392"/>
                <a:gd name="T15" fmla="*/ 100 h 295"/>
                <a:gd name="T16" fmla="*/ 392 w 392"/>
                <a:gd name="T17" fmla="*/ 179 h 295"/>
                <a:gd name="T18" fmla="*/ 330 w 392"/>
                <a:gd name="T19" fmla="*/ 263 h 295"/>
                <a:gd name="T20" fmla="*/ 228 w 392"/>
                <a:gd name="T21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2" h="295">
                  <a:moveTo>
                    <a:pt x="228" y="295"/>
                  </a:moveTo>
                  <a:lnTo>
                    <a:pt x="227" y="295"/>
                  </a:lnTo>
                  <a:cubicBezTo>
                    <a:pt x="212" y="295"/>
                    <a:pt x="197" y="293"/>
                    <a:pt x="184" y="289"/>
                  </a:cubicBezTo>
                  <a:cubicBezTo>
                    <a:pt x="156" y="281"/>
                    <a:pt x="98" y="265"/>
                    <a:pt x="15" y="243"/>
                  </a:cubicBezTo>
                  <a:cubicBezTo>
                    <a:pt x="12" y="242"/>
                    <a:pt x="10" y="241"/>
                    <a:pt x="7" y="241"/>
                  </a:cubicBezTo>
                  <a:cubicBezTo>
                    <a:pt x="3" y="222"/>
                    <a:pt x="0" y="203"/>
                    <a:pt x="0" y="183"/>
                  </a:cubicBezTo>
                  <a:cubicBezTo>
                    <a:pt x="0" y="107"/>
                    <a:pt x="39" y="39"/>
                    <a:pt x="97" y="0"/>
                  </a:cubicBezTo>
                  <a:cubicBezTo>
                    <a:pt x="214" y="50"/>
                    <a:pt x="297" y="86"/>
                    <a:pt x="330" y="100"/>
                  </a:cubicBezTo>
                  <a:cubicBezTo>
                    <a:pt x="363" y="114"/>
                    <a:pt x="382" y="145"/>
                    <a:pt x="392" y="179"/>
                  </a:cubicBezTo>
                  <a:cubicBezTo>
                    <a:pt x="381" y="215"/>
                    <a:pt x="359" y="243"/>
                    <a:pt x="330" y="263"/>
                  </a:cubicBezTo>
                  <a:cubicBezTo>
                    <a:pt x="300" y="284"/>
                    <a:pt x="263" y="295"/>
                    <a:pt x="228" y="295"/>
                  </a:cubicBezTo>
                </a:path>
              </a:pathLst>
            </a:custGeom>
            <a:solidFill>
              <a:srgbClr val="373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45">
              <a:extLst>
                <a:ext uri="{FF2B5EF4-FFF2-40B4-BE49-F238E27FC236}">
                  <a16:creationId xmlns:a16="http://schemas.microsoft.com/office/drawing/2014/main" id="{2B9773A9-14EF-58D4-31FD-3F0F95E94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40300" y="2446337"/>
              <a:ext cx="558800" cy="565150"/>
            </a:xfrm>
            <a:custGeom>
              <a:avLst/>
              <a:gdLst>
                <a:gd name="T0" fmla="*/ 619 w 1237"/>
                <a:gd name="T1" fmla="*/ 0 h 1237"/>
                <a:gd name="T2" fmla="*/ 566 w 1237"/>
                <a:gd name="T3" fmla="*/ 3 h 1237"/>
                <a:gd name="T4" fmla="*/ 366 w 1237"/>
                <a:gd name="T5" fmla="*/ 54 h 1237"/>
                <a:gd name="T6" fmla="*/ 198 w 1237"/>
                <a:gd name="T7" fmla="*/ 166 h 1237"/>
                <a:gd name="T8" fmla="*/ 166 w 1237"/>
                <a:gd name="T9" fmla="*/ 198 h 1237"/>
                <a:gd name="T10" fmla="*/ 79 w 1237"/>
                <a:gd name="T11" fmla="*/ 317 h 1237"/>
                <a:gd name="T12" fmla="*/ 9 w 1237"/>
                <a:gd name="T13" fmla="*/ 518 h 1237"/>
                <a:gd name="T14" fmla="*/ 9 w 1237"/>
                <a:gd name="T15" fmla="*/ 517 h 1237"/>
                <a:gd name="T16" fmla="*/ 1 w 1237"/>
                <a:gd name="T17" fmla="*/ 636 h 1237"/>
                <a:gd name="T18" fmla="*/ 6 w 1237"/>
                <a:gd name="T19" fmla="*/ 701 h 1237"/>
                <a:gd name="T20" fmla="*/ 6 w 1237"/>
                <a:gd name="T21" fmla="*/ 700 h 1237"/>
                <a:gd name="T22" fmla="*/ 51 w 1237"/>
                <a:gd name="T23" fmla="*/ 713 h 1237"/>
                <a:gd name="T24" fmla="*/ 20 w 1237"/>
                <a:gd name="T25" fmla="*/ 775 h 1237"/>
                <a:gd name="T26" fmla="*/ 20 w 1237"/>
                <a:gd name="T27" fmla="*/ 774 h 1237"/>
                <a:gd name="T28" fmla="*/ 32 w 1237"/>
                <a:gd name="T29" fmla="*/ 815 h 1237"/>
                <a:gd name="T30" fmla="*/ 92 w 1237"/>
                <a:gd name="T31" fmla="*/ 942 h 1237"/>
                <a:gd name="T32" fmla="*/ 720 w 1237"/>
                <a:gd name="T33" fmla="*/ 1229 h 1237"/>
                <a:gd name="T34" fmla="*/ 1235 w 1237"/>
                <a:gd name="T35" fmla="*/ 671 h 1237"/>
                <a:gd name="T36" fmla="*/ 1237 w 1237"/>
                <a:gd name="T37" fmla="*/ 619 h 1237"/>
                <a:gd name="T38" fmla="*/ 619 w 1237"/>
                <a:gd name="T39" fmla="*/ 0 h 1237"/>
                <a:gd name="T40" fmla="*/ 619 w 1237"/>
                <a:gd name="T41" fmla="*/ 87 h 1237"/>
                <a:gd name="T42" fmla="*/ 1151 w 1237"/>
                <a:gd name="T43" fmla="*/ 619 h 1237"/>
                <a:gd name="T44" fmla="*/ 1149 w 1237"/>
                <a:gd name="T45" fmla="*/ 665 h 1237"/>
                <a:gd name="T46" fmla="*/ 706 w 1237"/>
                <a:gd name="T47" fmla="*/ 1143 h 1237"/>
                <a:gd name="T48" fmla="*/ 619 w 1237"/>
                <a:gd name="T49" fmla="*/ 1151 h 1237"/>
                <a:gd name="T50" fmla="*/ 165 w 1237"/>
                <a:gd name="T51" fmla="*/ 897 h 1237"/>
                <a:gd name="T52" fmla="*/ 114 w 1237"/>
                <a:gd name="T53" fmla="*/ 788 h 1237"/>
                <a:gd name="T54" fmla="*/ 104 w 1237"/>
                <a:gd name="T55" fmla="*/ 752 h 1237"/>
                <a:gd name="T56" fmla="*/ 94 w 1237"/>
                <a:gd name="T57" fmla="*/ 707 h 1237"/>
                <a:gd name="T58" fmla="*/ 94 w 1237"/>
                <a:gd name="T59" fmla="*/ 706 h 1237"/>
                <a:gd name="T60" fmla="*/ 91 w 1237"/>
                <a:gd name="T61" fmla="*/ 690 h 1237"/>
                <a:gd name="T62" fmla="*/ 87 w 1237"/>
                <a:gd name="T63" fmla="*/ 633 h 1237"/>
                <a:gd name="T64" fmla="*/ 87 w 1237"/>
                <a:gd name="T65" fmla="*/ 619 h 1237"/>
                <a:gd name="T66" fmla="*/ 94 w 1237"/>
                <a:gd name="T67" fmla="*/ 532 h 1237"/>
                <a:gd name="T68" fmla="*/ 155 w 1237"/>
                <a:gd name="T69" fmla="*/ 358 h 1237"/>
                <a:gd name="T70" fmla="*/ 230 w 1237"/>
                <a:gd name="T71" fmla="*/ 255 h 1237"/>
                <a:gd name="T72" fmla="*/ 258 w 1237"/>
                <a:gd name="T73" fmla="*/ 227 h 1237"/>
                <a:gd name="T74" fmla="*/ 401 w 1237"/>
                <a:gd name="T75" fmla="*/ 133 h 1237"/>
                <a:gd name="T76" fmla="*/ 573 w 1237"/>
                <a:gd name="T77" fmla="*/ 89 h 1237"/>
                <a:gd name="T78" fmla="*/ 619 w 1237"/>
                <a:gd name="T79" fmla="*/ 87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37" h="1237">
                  <a:moveTo>
                    <a:pt x="619" y="44"/>
                  </a:moveTo>
                  <a:lnTo>
                    <a:pt x="619" y="0"/>
                  </a:lnTo>
                  <a:cubicBezTo>
                    <a:pt x="601" y="0"/>
                    <a:pt x="583" y="1"/>
                    <a:pt x="566" y="3"/>
                  </a:cubicBezTo>
                  <a:lnTo>
                    <a:pt x="566" y="3"/>
                  </a:lnTo>
                  <a:cubicBezTo>
                    <a:pt x="495" y="9"/>
                    <a:pt x="428" y="27"/>
                    <a:pt x="366" y="55"/>
                  </a:cubicBezTo>
                  <a:lnTo>
                    <a:pt x="366" y="54"/>
                  </a:lnTo>
                  <a:cubicBezTo>
                    <a:pt x="304" y="82"/>
                    <a:pt x="248" y="119"/>
                    <a:pt x="199" y="164"/>
                  </a:cubicBezTo>
                  <a:lnTo>
                    <a:pt x="198" y="166"/>
                  </a:lnTo>
                  <a:lnTo>
                    <a:pt x="199" y="165"/>
                  </a:lnTo>
                  <a:cubicBezTo>
                    <a:pt x="188" y="175"/>
                    <a:pt x="177" y="186"/>
                    <a:pt x="166" y="198"/>
                  </a:cubicBezTo>
                  <a:lnTo>
                    <a:pt x="166" y="198"/>
                  </a:lnTo>
                  <a:cubicBezTo>
                    <a:pt x="133" y="233"/>
                    <a:pt x="103" y="273"/>
                    <a:pt x="79" y="317"/>
                  </a:cubicBezTo>
                  <a:lnTo>
                    <a:pt x="79" y="316"/>
                  </a:lnTo>
                  <a:cubicBezTo>
                    <a:pt x="45" y="378"/>
                    <a:pt x="21" y="446"/>
                    <a:pt x="9" y="518"/>
                  </a:cubicBezTo>
                  <a:lnTo>
                    <a:pt x="8" y="520"/>
                  </a:lnTo>
                  <a:lnTo>
                    <a:pt x="9" y="517"/>
                  </a:lnTo>
                  <a:cubicBezTo>
                    <a:pt x="3" y="551"/>
                    <a:pt x="0" y="584"/>
                    <a:pt x="0" y="619"/>
                  </a:cubicBezTo>
                  <a:cubicBezTo>
                    <a:pt x="0" y="624"/>
                    <a:pt x="0" y="630"/>
                    <a:pt x="1" y="636"/>
                  </a:cubicBezTo>
                  <a:lnTo>
                    <a:pt x="1" y="636"/>
                  </a:lnTo>
                  <a:cubicBezTo>
                    <a:pt x="1" y="658"/>
                    <a:pt x="3" y="679"/>
                    <a:pt x="6" y="701"/>
                  </a:cubicBezTo>
                  <a:lnTo>
                    <a:pt x="49" y="695"/>
                  </a:lnTo>
                  <a:lnTo>
                    <a:pt x="6" y="700"/>
                  </a:lnTo>
                  <a:cubicBezTo>
                    <a:pt x="7" y="708"/>
                    <a:pt x="8" y="714"/>
                    <a:pt x="9" y="721"/>
                  </a:cubicBezTo>
                  <a:lnTo>
                    <a:pt x="51" y="713"/>
                  </a:lnTo>
                  <a:lnTo>
                    <a:pt x="9" y="720"/>
                  </a:lnTo>
                  <a:cubicBezTo>
                    <a:pt x="12" y="739"/>
                    <a:pt x="16" y="757"/>
                    <a:pt x="20" y="775"/>
                  </a:cubicBezTo>
                  <a:lnTo>
                    <a:pt x="62" y="764"/>
                  </a:lnTo>
                  <a:lnTo>
                    <a:pt x="20" y="774"/>
                  </a:lnTo>
                  <a:cubicBezTo>
                    <a:pt x="24" y="788"/>
                    <a:pt x="28" y="802"/>
                    <a:pt x="32" y="814"/>
                  </a:cubicBezTo>
                  <a:lnTo>
                    <a:pt x="32" y="815"/>
                  </a:lnTo>
                  <a:cubicBezTo>
                    <a:pt x="47" y="860"/>
                    <a:pt x="67" y="902"/>
                    <a:pt x="92" y="942"/>
                  </a:cubicBezTo>
                  <a:lnTo>
                    <a:pt x="92" y="942"/>
                  </a:lnTo>
                  <a:cubicBezTo>
                    <a:pt x="200" y="1119"/>
                    <a:pt x="396" y="1237"/>
                    <a:pt x="619" y="1237"/>
                  </a:cubicBezTo>
                  <a:cubicBezTo>
                    <a:pt x="653" y="1237"/>
                    <a:pt x="687" y="1234"/>
                    <a:pt x="720" y="1229"/>
                  </a:cubicBezTo>
                  <a:lnTo>
                    <a:pt x="720" y="1229"/>
                  </a:lnTo>
                  <a:cubicBezTo>
                    <a:pt x="996" y="1183"/>
                    <a:pt x="1211" y="955"/>
                    <a:pt x="1235" y="671"/>
                  </a:cubicBezTo>
                  <a:lnTo>
                    <a:pt x="1235" y="672"/>
                  </a:lnTo>
                  <a:cubicBezTo>
                    <a:pt x="1236" y="654"/>
                    <a:pt x="1237" y="636"/>
                    <a:pt x="1237" y="619"/>
                  </a:cubicBezTo>
                  <a:cubicBezTo>
                    <a:pt x="1237" y="448"/>
                    <a:pt x="1168" y="293"/>
                    <a:pt x="1056" y="181"/>
                  </a:cubicBezTo>
                  <a:cubicBezTo>
                    <a:pt x="944" y="70"/>
                    <a:pt x="789" y="0"/>
                    <a:pt x="619" y="0"/>
                  </a:cubicBezTo>
                  <a:lnTo>
                    <a:pt x="619" y="44"/>
                  </a:lnTo>
                  <a:lnTo>
                    <a:pt x="619" y="87"/>
                  </a:lnTo>
                  <a:cubicBezTo>
                    <a:pt x="766" y="87"/>
                    <a:pt x="898" y="146"/>
                    <a:pt x="995" y="242"/>
                  </a:cubicBezTo>
                  <a:cubicBezTo>
                    <a:pt x="1091" y="339"/>
                    <a:pt x="1151" y="472"/>
                    <a:pt x="1151" y="619"/>
                  </a:cubicBezTo>
                  <a:cubicBezTo>
                    <a:pt x="1151" y="634"/>
                    <a:pt x="1150" y="649"/>
                    <a:pt x="1149" y="664"/>
                  </a:cubicBezTo>
                  <a:lnTo>
                    <a:pt x="1149" y="665"/>
                  </a:lnTo>
                  <a:lnTo>
                    <a:pt x="1149" y="664"/>
                  </a:lnTo>
                  <a:cubicBezTo>
                    <a:pt x="1128" y="907"/>
                    <a:pt x="943" y="1105"/>
                    <a:pt x="706" y="1143"/>
                  </a:cubicBezTo>
                  <a:lnTo>
                    <a:pt x="705" y="1143"/>
                  </a:lnTo>
                  <a:cubicBezTo>
                    <a:pt x="677" y="1148"/>
                    <a:pt x="648" y="1151"/>
                    <a:pt x="619" y="1151"/>
                  </a:cubicBezTo>
                  <a:cubicBezTo>
                    <a:pt x="427" y="1151"/>
                    <a:pt x="259" y="1049"/>
                    <a:pt x="165" y="897"/>
                  </a:cubicBezTo>
                  <a:lnTo>
                    <a:pt x="165" y="897"/>
                  </a:lnTo>
                  <a:cubicBezTo>
                    <a:pt x="144" y="863"/>
                    <a:pt x="127" y="826"/>
                    <a:pt x="114" y="787"/>
                  </a:cubicBezTo>
                  <a:lnTo>
                    <a:pt x="114" y="788"/>
                  </a:lnTo>
                  <a:cubicBezTo>
                    <a:pt x="110" y="776"/>
                    <a:pt x="107" y="764"/>
                    <a:pt x="104" y="753"/>
                  </a:cubicBezTo>
                  <a:lnTo>
                    <a:pt x="104" y="752"/>
                  </a:lnTo>
                  <a:lnTo>
                    <a:pt x="104" y="753"/>
                  </a:lnTo>
                  <a:cubicBezTo>
                    <a:pt x="100" y="737"/>
                    <a:pt x="96" y="722"/>
                    <a:pt x="94" y="707"/>
                  </a:cubicBezTo>
                  <a:lnTo>
                    <a:pt x="94" y="706"/>
                  </a:lnTo>
                  <a:lnTo>
                    <a:pt x="94" y="706"/>
                  </a:lnTo>
                  <a:cubicBezTo>
                    <a:pt x="93" y="700"/>
                    <a:pt x="92" y="695"/>
                    <a:pt x="92" y="691"/>
                  </a:cubicBezTo>
                  <a:lnTo>
                    <a:pt x="91" y="690"/>
                  </a:lnTo>
                  <a:lnTo>
                    <a:pt x="91" y="689"/>
                  </a:lnTo>
                  <a:cubicBezTo>
                    <a:pt x="89" y="671"/>
                    <a:pt x="87" y="652"/>
                    <a:pt x="87" y="633"/>
                  </a:cubicBezTo>
                  <a:lnTo>
                    <a:pt x="87" y="633"/>
                  </a:lnTo>
                  <a:cubicBezTo>
                    <a:pt x="87" y="629"/>
                    <a:pt x="87" y="624"/>
                    <a:pt x="87" y="619"/>
                  </a:cubicBezTo>
                  <a:cubicBezTo>
                    <a:pt x="87" y="589"/>
                    <a:pt x="89" y="560"/>
                    <a:pt x="94" y="532"/>
                  </a:cubicBezTo>
                  <a:lnTo>
                    <a:pt x="94" y="532"/>
                  </a:lnTo>
                  <a:cubicBezTo>
                    <a:pt x="104" y="470"/>
                    <a:pt x="125" y="411"/>
                    <a:pt x="155" y="359"/>
                  </a:cubicBezTo>
                  <a:lnTo>
                    <a:pt x="155" y="358"/>
                  </a:lnTo>
                  <a:cubicBezTo>
                    <a:pt x="175" y="321"/>
                    <a:pt x="200" y="287"/>
                    <a:pt x="229" y="256"/>
                  </a:cubicBezTo>
                  <a:lnTo>
                    <a:pt x="230" y="255"/>
                  </a:lnTo>
                  <a:lnTo>
                    <a:pt x="229" y="256"/>
                  </a:lnTo>
                  <a:cubicBezTo>
                    <a:pt x="238" y="247"/>
                    <a:pt x="248" y="237"/>
                    <a:pt x="258" y="227"/>
                  </a:cubicBezTo>
                  <a:lnTo>
                    <a:pt x="258" y="228"/>
                  </a:lnTo>
                  <a:cubicBezTo>
                    <a:pt x="300" y="189"/>
                    <a:pt x="348" y="157"/>
                    <a:pt x="401" y="133"/>
                  </a:cubicBezTo>
                  <a:lnTo>
                    <a:pt x="401" y="133"/>
                  </a:lnTo>
                  <a:cubicBezTo>
                    <a:pt x="454" y="109"/>
                    <a:pt x="512" y="94"/>
                    <a:pt x="573" y="89"/>
                  </a:cubicBezTo>
                  <a:lnTo>
                    <a:pt x="574" y="89"/>
                  </a:lnTo>
                  <a:cubicBezTo>
                    <a:pt x="588" y="87"/>
                    <a:pt x="603" y="87"/>
                    <a:pt x="619" y="87"/>
                  </a:cubicBezTo>
                  <a:lnTo>
                    <a:pt x="619" y="44"/>
                  </a:lnTo>
                </a:path>
              </a:pathLst>
            </a:custGeom>
            <a:solidFill>
              <a:srgbClr val="5350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46">
              <a:extLst>
                <a:ext uri="{FF2B5EF4-FFF2-40B4-BE49-F238E27FC236}">
                  <a16:creationId xmlns:a16="http://schemas.microsoft.com/office/drawing/2014/main" id="{C115D25C-A133-2434-C5D3-F43870C7A8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30938" y="1906587"/>
              <a:ext cx="831850" cy="839788"/>
            </a:xfrm>
            <a:custGeom>
              <a:avLst/>
              <a:gdLst>
                <a:gd name="T0" fmla="*/ 1626 w 1840"/>
                <a:gd name="T1" fmla="*/ 1073 h 1840"/>
                <a:gd name="T2" fmla="*/ 1600 w 1840"/>
                <a:gd name="T3" fmla="*/ 1059 h 1840"/>
                <a:gd name="T4" fmla="*/ 1502 w 1840"/>
                <a:gd name="T5" fmla="*/ 1068 h 1840"/>
                <a:gd name="T6" fmla="*/ 1638 w 1840"/>
                <a:gd name="T7" fmla="*/ 1077 h 1840"/>
                <a:gd name="T8" fmla="*/ 1626 w 1840"/>
                <a:gd name="T9" fmla="*/ 1073 h 1840"/>
                <a:gd name="T10" fmla="*/ 1600 w 1840"/>
                <a:gd name="T11" fmla="*/ 1059 h 1840"/>
                <a:gd name="T12" fmla="*/ 1502 w 1840"/>
                <a:gd name="T13" fmla="*/ 1068 h 1840"/>
                <a:gd name="T14" fmla="*/ 1638 w 1840"/>
                <a:gd name="T15" fmla="*/ 1077 h 1840"/>
                <a:gd name="T16" fmla="*/ 1626 w 1840"/>
                <a:gd name="T17" fmla="*/ 1073 h 1840"/>
                <a:gd name="T18" fmla="*/ 1600 w 1840"/>
                <a:gd name="T19" fmla="*/ 1059 h 1840"/>
                <a:gd name="T20" fmla="*/ 1502 w 1840"/>
                <a:gd name="T21" fmla="*/ 1068 h 1840"/>
                <a:gd name="T22" fmla="*/ 1638 w 1840"/>
                <a:gd name="T23" fmla="*/ 1077 h 1840"/>
                <a:gd name="T24" fmla="*/ 288 w 1840"/>
                <a:gd name="T25" fmla="*/ 1087 h 1840"/>
                <a:gd name="T26" fmla="*/ 524 w 1840"/>
                <a:gd name="T27" fmla="*/ 1320 h 1840"/>
                <a:gd name="T28" fmla="*/ 522 w 1840"/>
                <a:gd name="T29" fmla="*/ 690 h 1840"/>
                <a:gd name="T30" fmla="*/ 218 w 1840"/>
                <a:gd name="T31" fmla="*/ 676 h 1840"/>
                <a:gd name="T32" fmla="*/ 1617 w 1840"/>
                <a:gd name="T33" fmla="*/ 518 h 1840"/>
                <a:gd name="T34" fmla="*/ 1533 w 1840"/>
                <a:gd name="T35" fmla="*/ 763 h 1840"/>
                <a:gd name="T36" fmla="*/ 1320 w 1840"/>
                <a:gd name="T37" fmla="*/ 690 h 1840"/>
                <a:gd name="T38" fmla="*/ 1309 w 1840"/>
                <a:gd name="T39" fmla="*/ 542 h 1840"/>
                <a:gd name="T40" fmla="*/ 1093 w 1840"/>
                <a:gd name="T41" fmla="*/ 288 h 1840"/>
                <a:gd name="T42" fmla="*/ 909 w 1840"/>
                <a:gd name="T43" fmla="*/ 116 h 1840"/>
                <a:gd name="T44" fmla="*/ 921 w 1840"/>
                <a:gd name="T45" fmla="*/ 1724 h 1840"/>
                <a:gd name="T46" fmla="*/ 842 w 1840"/>
                <a:gd name="T47" fmla="*/ 1400 h 1840"/>
                <a:gd name="T48" fmla="*/ 936 w 1840"/>
                <a:gd name="T49" fmla="*/ 1381 h 1840"/>
                <a:gd name="T50" fmla="*/ 1088 w 1840"/>
                <a:gd name="T51" fmla="*/ 1592 h 1840"/>
                <a:gd name="T52" fmla="*/ 1320 w 1840"/>
                <a:gd name="T53" fmla="*/ 1150 h 1840"/>
                <a:gd name="T54" fmla="*/ 1617 w 1840"/>
                <a:gd name="T55" fmla="*/ 1150 h 1840"/>
                <a:gd name="T56" fmla="*/ 1839 w 1840"/>
                <a:gd name="T57" fmla="*/ 889 h 1840"/>
                <a:gd name="T58" fmla="*/ 1038 w 1840"/>
                <a:gd name="T59" fmla="*/ 7 h 1840"/>
                <a:gd name="T60" fmla="*/ 11 w 1840"/>
                <a:gd name="T61" fmla="*/ 776 h 1840"/>
                <a:gd name="T62" fmla="*/ 570 w 1840"/>
                <a:gd name="T63" fmla="*/ 1771 h 1840"/>
                <a:gd name="T64" fmla="*/ 920 w 1840"/>
                <a:gd name="T65" fmla="*/ 1840 h 1840"/>
                <a:gd name="T66" fmla="*/ 1430 w 1840"/>
                <a:gd name="T67" fmla="*/ 1686 h 1840"/>
                <a:gd name="T68" fmla="*/ 1733 w 1840"/>
                <a:gd name="T69" fmla="*/ 1351 h 1840"/>
                <a:gd name="T70" fmla="*/ 1833 w 1840"/>
                <a:gd name="T71" fmla="*/ 1035 h 1840"/>
                <a:gd name="T72" fmla="*/ 1633 w 1840"/>
                <a:gd name="T73" fmla="*/ 1076 h 1840"/>
                <a:gd name="T74" fmla="*/ 1616 w 1840"/>
                <a:gd name="T75" fmla="*/ 1068 h 1840"/>
                <a:gd name="T76" fmla="*/ 1584 w 1840"/>
                <a:gd name="T77" fmla="*/ 1049 h 1840"/>
                <a:gd name="T78" fmla="*/ 1617 w 1840"/>
                <a:gd name="T79" fmla="*/ 1150 h 1840"/>
                <a:gd name="T80" fmla="*/ 1633 w 1840"/>
                <a:gd name="T81" fmla="*/ 1076 h 1840"/>
                <a:gd name="T82" fmla="*/ 1616 w 1840"/>
                <a:gd name="T83" fmla="*/ 1068 h 1840"/>
                <a:gd name="T84" fmla="*/ 1584 w 1840"/>
                <a:gd name="T85" fmla="*/ 1049 h 1840"/>
                <a:gd name="T86" fmla="*/ 1617 w 1840"/>
                <a:gd name="T87" fmla="*/ 1150 h 1840"/>
                <a:gd name="T88" fmla="*/ 1633 w 1840"/>
                <a:gd name="T89" fmla="*/ 1076 h 1840"/>
                <a:gd name="T90" fmla="*/ 1616 w 1840"/>
                <a:gd name="T91" fmla="*/ 1068 h 1840"/>
                <a:gd name="T92" fmla="*/ 1584 w 1840"/>
                <a:gd name="T93" fmla="*/ 1049 h 1840"/>
                <a:gd name="T94" fmla="*/ 1617 w 1840"/>
                <a:gd name="T95" fmla="*/ 1150 h 1840"/>
                <a:gd name="T96" fmla="*/ 1633 w 1840"/>
                <a:gd name="T97" fmla="*/ 1076 h 1840"/>
                <a:gd name="T98" fmla="*/ 1616 w 1840"/>
                <a:gd name="T99" fmla="*/ 1068 h 1840"/>
                <a:gd name="T100" fmla="*/ 1584 w 1840"/>
                <a:gd name="T101" fmla="*/ 1049 h 1840"/>
                <a:gd name="T102" fmla="*/ 1617 w 1840"/>
                <a:gd name="T103" fmla="*/ 1150 h 1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40" h="1840"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  <a:moveTo>
                    <a:pt x="460" y="1385"/>
                  </a:moveTo>
                  <a:cubicBezTo>
                    <a:pt x="397" y="1421"/>
                    <a:pt x="321" y="1413"/>
                    <a:pt x="267" y="1370"/>
                  </a:cubicBezTo>
                  <a:cubicBezTo>
                    <a:pt x="251" y="1357"/>
                    <a:pt x="236" y="1341"/>
                    <a:pt x="225" y="1322"/>
                  </a:cubicBezTo>
                  <a:cubicBezTo>
                    <a:pt x="178" y="1240"/>
                    <a:pt x="206" y="1135"/>
                    <a:pt x="288" y="1087"/>
                  </a:cubicBezTo>
                  <a:cubicBezTo>
                    <a:pt x="294" y="1084"/>
                    <a:pt x="300" y="1081"/>
                    <a:pt x="307" y="1078"/>
                  </a:cubicBezTo>
                  <a:cubicBezTo>
                    <a:pt x="349" y="1060"/>
                    <a:pt x="396" y="1060"/>
                    <a:pt x="437" y="1077"/>
                  </a:cubicBezTo>
                  <a:cubicBezTo>
                    <a:pt x="472" y="1090"/>
                    <a:pt x="502" y="1115"/>
                    <a:pt x="522" y="1150"/>
                  </a:cubicBezTo>
                  <a:cubicBezTo>
                    <a:pt x="554" y="1204"/>
                    <a:pt x="552" y="1269"/>
                    <a:pt x="524" y="1320"/>
                  </a:cubicBezTo>
                  <a:cubicBezTo>
                    <a:pt x="509" y="1346"/>
                    <a:pt x="488" y="1369"/>
                    <a:pt x="460" y="1385"/>
                  </a:cubicBezTo>
                  <a:close/>
                  <a:moveTo>
                    <a:pt x="412" y="437"/>
                  </a:moveTo>
                  <a:cubicBezTo>
                    <a:pt x="428" y="440"/>
                    <a:pt x="444" y="446"/>
                    <a:pt x="460" y="455"/>
                  </a:cubicBezTo>
                  <a:cubicBezTo>
                    <a:pt x="542" y="503"/>
                    <a:pt x="570" y="608"/>
                    <a:pt x="522" y="690"/>
                  </a:cubicBezTo>
                  <a:cubicBezTo>
                    <a:pt x="484" y="756"/>
                    <a:pt x="409" y="787"/>
                    <a:pt x="339" y="772"/>
                  </a:cubicBezTo>
                  <a:cubicBezTo>
                    <a:pt x="321" y="768"/>
                    <a:pt x="304" y="762"/>
                    <a:pt x="288" y="752"/>
                  </a:cubicBezTo>
                  <a:cubicBezTo>
                    <a:pt x="273" y="744"/>
                    <a:pt x="260" y="734"/>
                    <a:pt x="249" y="722"/>
                  </a:cubicBezTo>
                  <a:cubicBezTo>
                    <a:pt x="236" y="708"/>
                    <a:pt x="226" y="693"/>
                    <a:pt x="218" y="676"/>
                  </a:cubicBezTo>
                  <a:cubicBezTo>
                    <a:pt x="195" y="627"/>
                    <a:pt x="196" y="568"/>
                    <a:pt x="225" y="518"/>
                  </a:cubicBezTo>
                  <a:cubicBezTo>
                    <a:pt x="264" y="451"/>
                    <a:pt x="341" y="420"/>
                    <a:pt x="412" y="437"/>
                  </a:cubicBezTo>
                  <a:moveTo>
                    <a:pt x="1575" y="469"/>
                  </a:moveTo>
                  <a:cubicBezTo>
                    <a:pt x="1592" y="482"/>
                    <a:pt x="1606" y="499"/>
                    <a:pt x="1617" y="518"/>
                  </a:cubicBezTo>
                  <a:cubicBezTo>
                    <a:pt x="1640" y="558"/>
                    <a:pt x="1646" y="603"/>
                    <a:pt x="1636" y="644"/>
                  </a:cubicBezTo>
                  <a:cubicBezTo>
                    <a:pt x="1627" y="680"/>
                    <a:pt x="1607" y="713"/>
                    <a:pt x="1577" y="737"/>
                  </a:cubicBezTo>
                  <a:cubicBezTo>
                    <a:pt x="1570" y="743"/>
                    <a:pt x="1562" y="748"/>
                    <a:pt x="1555" y="752"/>
                  </a:cubicBezTo>
                  <a:cubicBezTo>
                    <a:pt x="1547" y="757"/>
                    <a:pt x="1540" y="760"/>
                    <a:pt x="1533" y="763"/>
                  </a:cubicBezTo>
                  <a:cubicBezTo>
                    <a:pt x="1529" y="765"/>
                    <a:pt x="1524" y="766"/>
                    <a:pt x="1520" y="767"/>
                  </a:cubicBezTo>
                  <a:lnTo>
                    <a:pt x="1520" y="768"/>
                  </a:lnTo>
                  <a:cubicBezTo>
                    <a:pt x="1515" y="769"/>
                    <a:pt x="1509" y="771"/>
                    <a:pt x="1504" y="772"/>
                  </a:cubicBezTo>
                  <a:cubicBezTo>
                    <a:pt x="1433" y="787"/>
                    <a:pt x="1358" y="756"/>
                    <a:pt x="1320" y="690"/>
                  </a:cubicBezTo>
                  <a:cubicBezTo>
                    <a:pt x="1316" y="683"/>
                    <a:pt x="1313" y="676"/>
                    <a:pt x="1310" y="669"/>
                  </a:cubicBezTo>
                  <a:cubicBezTo>
                    <a:pt x="1303" y="653"/>
                    <a:pt x="1299" y="636"/>
                    <a:pt x="1298" y="620"/>
                  </a:cubicBezTo>
                  <a:lnTo>
                    <a:pt x="1298" y="619"/>
                  </a:lnTo>
                  <a:cubicBezTo>
                    <a:pt x="1295" y="593"/>
                    <a:pt x="1299" y="567"/>
                    <a:pt x="1309" y="542"/>
                  </a:cubicBezTo>
                  <a:cubicBezTo>
                    <a:pt x="1322" y="507"/>
                    <a:pt x="1348" y="476"/>
                    <a:pt x="1383" y="455"/>
                  </a:cubicBezTo>
                  <a:cubicBezTo>
                    <a:pt x="1401" y="445"/>
                    <a:pt x="1420" y="438"/>
                    <a:pt x="1440" y="435"/>
                  </a:cubicBezTo>
                  <a:cubicBezTo>
                    <a:pt x="1487" y="426"/>
                    <a:pt x="1537" y="439"/>
                    <a:pt x="1575" y="469"/>
                  </a:cubicBezTo>
                  <a:moveTo>
                    <a:pt x="1093" y="288"/>
                  </a:moveTo>
                  <a:cubicBezTo>
                    <a:pt x="1093" y="295"/>
                    <a:pt x="1092" y="303"/>
                    <a:pt x="1091" y="310"/>
                  </a:cubicBezTo>
                  <a:cubicBezTo>
                    <a:pt x="1080" y="395"/>
                    <a:pt x="1008" y="459"/>
                    <a:pt x="921" y="459"/>
                  </a:cubicBezTo>
                  <a:cubicBezTo>
                    <a:pt x="826" y="459"/>
                    <a:pt x="750" y="383"/>
                    <a:pt x="750" y="288"/>
                  </a:cubicBezTo>
                  <a:cubicBezTo>
                    <a:pt x="750" y="197"/>
                    <a:pt x="820" y="123"/>
                    <a:pt x="909" y="116"/>
                  </a:cubicBezTo>
                  <a:cubicBezTo>
                    <a:pt x="913" y="116"/>
                    <a:pt x="917" y="116"/>
                    <a:pt x="921" y="116"/>
                  </a:cubicBezTo>
                  <a:cubicBezTo>
                    <a:pt x="1016" y="116"/>
                    <a:pt x="1093" y="193"/>
                    <a:pt x="1093" y="288"/>
                  </a:cubicBezTo>
                  <a:close/>
                  <a:moveTo>
                    <a:pt x="982" y="1713"/>
                  </a:moveTo>
                  <a:cubicBezTo>
                    <a:pt x="963" y="1720"/>
                    <a:pt x="943" y="1724"/>
                    <a:pt x="921" y="1724"/>
                  </a:cubicBezTo>
                  <a:cubicBezTo>
                    <a:pt x="893" y="1724"/>
                    <a:pt x="867" y="1717"/>
                    <a:pt x="844" y="1705"/>
                  </a:cubicBezTo>
                  <a:cubicBezTo>
                    <a:pt x="788" y="1677"/>
                    <a:pt x="750" y="1619"/>
                    <a:pt x="750" y="1552"/>
                  </a:cubicBezTo>
                  <a:cubicBezTo>
                    <a:pt x="750" y="1533"/>
                    <a:pt x="753" y="1515"/>
                    <a:pt x="758" y="1498"/>
                  </a:cubicBezTo>
                  <a:cubicBezTo>
                    <a:pt x="773" y="1455"/>
                    <a:pt x="803" y="1420"/>
                    <a:pt x="842" y="1400"/>
                  </a:cubicBezTo>
                  <a:cubicBezTo>
                    <a:pt x="849" y="1396"/>
                    <a:pt x="856" y="1393"/>
                    <a:pt x="864" y="1390"/>
                  </a:cubicBezTo>
                  <a:cubicBezTo>
                    <a:pt x="867" y="1389"/>
                    <a:pt x="870" y="1388"/>
                    <a:pt x="873" y="1388"/>
                  </a:cubicBezTo>
                  <a:cubicBezTo>
                    <a:pt x="888" y="1383"/>
                    <a:pt x="904" y="1381"/>
                    <a:pt x="921" y="1381"/>
                  </a:cubicBezTo>
                  <a:cubicBezTo>
                    <a:pt x="926" y="1381"/>
                    <a:pt x="931" y="1381"/>
                    <a:pt x="936" y="1381"/>
                  </a:cubicBezTo>
                  <a:cubicBezTo>
                    <a:pt x="963" y="1384"/>
                    <a:pt x="988" y="1392"/>
                    <a:pt x="1010" y="1405"/>
                  </a:cubicBezTo>
                  <a:cubicBezTo>
                    <a:pt x="1027" y="1415"/>
                    <a:pt x="1042" y="1429"/>
                    <a:pt x="1055" y="1445"/>
                  </a:cubicBezTo>
                  <a:cubicBezTo>
                    <a:pt x="1079" y="1474"/>
                    <a:pt x="1093" y="1511"/>
                    <a:pt x="1093" y="1552"/>
                  </a:cubicBezTo>
                  <a:cubicBezTo>
                    <a:pt x="1093" y="1566"/>
                    <a:pt x="1091" y="1579"/>
                    <a:pt x="1088" y="1592"/>
                  </a:cubicBezTo>
                  <a:cubicBezTo>
                    <a:pt x="1075" y="1648"/>
                    <a:pt x="1034" y="1693"/>
                    <a:pt x="982" y="1713"/>
                  </a:cubicBezTo>
                  <a:moveTo>
                    <a:pt x="1545" y="1390"/>
                  </a:moveTo>
                  <a:cubicBezTo>
                    <a:pt x="1495" y="1414"/>
                    <a:pt x="1434" y="1414"/>
                    <a:pt x="1383" y="1385"/>
                  </a:cubicBezTo>
                  <a:cubicBezTo>
                    <a:pt x="1301" y="1337"/>
                    <a:pt x="1273" y="1232"/>
                    <a:pt x="1320" y="1150"/>
                  </a:cubicBezTo>
                  <a:cubicBezTo>
                    <a:pt x="1332" y="1130"/>
                    <a:pt x="1347" y="1113"/>
                    <a:pt x="1364" y="1100"/>
                  </a:cubicBezTo>
                  <a:cubicBezTo>
                    <a:pt x="1403" y="1070"/>
                    <a:pt x="1454" y="1058"/>
                    <a:pt x="1502" y="1068"/>
                  </a:cubicBez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cubicBezTo>
                    <a:pt x="1647" y="1201"/>
                    <a:pt x="1649" y="1267"/>
                    <a:pt x="1617" y="1322"/>
                  </a:cubicBezTo>
                  <a:cubicBezTo>
                    <a:pt x="1600" y="1352"/>
                    <a:pt x="1574" y="1376"/>
                    <a:pt x="1545" y="1390"/>
                  </a:cubicBezTo>
                  <a:moveTo>
                    <a:pt x="1840" y="893"/>
                  </a:moveTo>
                  <a:lnTo>
                    <a:pt x="1839" y="889"/>
                  </a:lnTo>
                  <a:cubicBezTo>
                    <a:pt x="1839" y="875"/>
                    <a:pt x="1838" y="861"/>
                    <a:pt x="1837" y="848"/>
                  </a:cubicBezTo>
                  <a:cubicBezTo>
                    <a:pt x="1831" y="762"/>
                    <a:pt x="1812" y="679"/>
                    <a:pt x="1783" y="601"/>
                  </a:cubicBezTo>
                  <a:cubicBezTo>
                    <a:pt x="1760" y="538"/>
                    <a:pt x="1730" y="478"/>
                    <a:pt x="1694" y="422"/>
                  </a:cubicBezTo>
                  <a:cubicBezTo>
                    <a:pt x="1551" y="199"/>
                    <a:pt x="1314" y="42"/>
                    <a:pt x="1038" y="7"/>
                  </a:cubicBezTo>
                  <a:cubicBezTo>
                    <a:pt x="1000" y="2"/>
                    <a:pt x="960" y="0"/>
                    <a:pt x="920" y="0"/>
                  </a:cubicBezTo>
                  <a:cubicBezTo>
                    <a:pt x="802" y="0"/>
                    <a:pt x="690" y="22"/>
                    <a:pt x="586" y="62"/>
                  </a:cubicBezTo>
                  <a:cubicBezTo>
                    <a:pt x="568" y="69"/>
                    <a:pt x="549" y="77"/>
                    <a:pt x="531" y="86"/>
                  </a:cubicBezTo>
                  <a:cubicBezTo>
                    <a:pt x="259" y="213"/>
                    <a:pt x="59" y="469"/>
                    <a:pt x="11" y="776"/>
                  </a:cubicBezTo>
                  <a:cubicBezTo>
                    <a:pt x="4" y="822"/>
                    <a:pt x="0" y="871"/>
                    <a:pt x="0" y="920"/>
                  </a:cubicBezTo>
                  <a:cubicBezTo>
                    <a:pt x="0" y="1233"/>
                    <a:pt x="157" y="1509"/>
                    <a:pt x="396" y="1676"/>
                  </a:cubicBezTo>
                  <a:cubicBezTo>
                    <a:pt x="429" y="1698"/>
                    <a:pt x="463" y="1719"/>
                    <a:pt x="499" y="1738"/>
                  </a:cubicBezTo>
                  <a:cubicBezTo>
                    <a:pt x="522" y="1750"/>
                    <a:pt x="546" y="1761"/>
                    <a:pt x="570" y="1771"/>
                  </a:cubicBezTo>
                  <a:cubicBezTo>
                    <a:pt x="589" y="1779"/>
                    <a:pt x="609" y="1786"/>
                    <a:pt x="628" y="1792"/>
                  </a:cubicBezTo>
                  <a:cubicBezTo>
                    <a:pt x="653" y="1801"/>
                    <a:pt x="679" y="1808"/>
                    <a:pt x="705" y="1814"/>
                  </a:cubicBezTo>
                  <a:cubicBezTo>
                    <a:pt x="746" y="1824"/>
                    <a:pt x="789" y="1831"/>
                    <a:pt x="832" y="1835"/>
                  </a:cubicBezTo>
                  <a:cubicBezTo>
                    <a:pt x="861" y="1838"/>
                    <a:pt x="890" y="1840"/>
                    <a:pt x="920" y="1840"/>
                  </a:cubicBezTo>
                  <a:lnTo>
                    <a:pt x="920" y="1840"/>
                  </a:lnTo>
                  <a:cubicBezTo>
                    <a:pt x="937" y="1840"/>
                    <a:pt x="954" y="1839"/>
                    <a:pt x="970" y="1838"/>
                  </a:cubicBezTo>
                  <a:cubicBezTo>
                    <a:pt x="1002" y="1837"/>
                    <a:pt x="1033" y="1833"/>
                    <a:pt x="1064" y="1828"/>
                  </a:cubicBezTo>
                  <a:cubicBezTo>
                    <a:pt x="1198" y="1807"/>
                    <a:pt x="1322" y="1758"/>
                    <a:pt x="1430" y="1686"/>
                  </a:cubicBezTo>
                  <a:cubicBezTo>
                    <a:pt x="1441" y="1678"/>
                    <a:pt x="1451" y="1671"/>
                    <a:pt x="1462" y="1663"/>
                  </a:cubicBezTo>
                  <a:cubicBezTo>
                    <a:pt x="1496" y="1638"/>
                    <a:pt x="1528" y="1611"/>
                    <a:pt x="1558" y="1582"/>
                  </a:cubicBezTo>
                  <a:cubicBezTo>
                    <a:pt x="1571" y="1570"/>
                    <a:pt x="1583" y="1558"/>
                    <a:pt x="1595" y="1545"/>
                  </a:cubicBezTo>
                  <a:cubicBezTo>
                    <a:pt x="1649" y="1487"/>
                    <a:pt x="1695" y="1422"/>
                    <a:pt x="1733" y="1351"/>
                  </a:cubicBezTo>
                  <a:cubicBezTo>
                    <a:pt x="1750" y="1320"/>
                    <a:pt x="1765" y="1287"/>
                    <a:pt x="1778" y="1253"/>
                  </a:cubicBezTo>
                  <a:cubicBezTo>
                    <a:pt x="1798" y="1201"/>
                    <a:pt x="1813" y="1147"/>
                    <a:pt x="1824" y="1091"/>
                  </a:cubicBezTo>
                  <a:lnTo>
                    <a:pt x="1825" y="1089"/>
                  </a:lnTo>
                  <a:cubicBezTo>
                    <a:pt x="1828" y="1071"/>
                    <a:pt x="1831" y="1053"/>
                    <a:pt x="1833" y="1035"/>
                  </a:cubicBezTo>
                  <a:cubicBezTo>
                    <a:pt x="1838" y="997"/>
                    <a:pt x="1840" y="959"/>
                    <a:pt x="1840" y="920"/>
                  </a:cubicBezTo>
                  <a:cubicBezTo>
                    <a:pt x="1840" y="911"/>
                    <a:pt x="1840" y="902"/>
                    <a:pt x="1840" y="893"/>
                  </a:cubicBezTo>
                  <a:close/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  <a:moveTo>
                    <a:pt x="1638" y="1077"/>
                  </a:moveTo>
                  <a:cubicBezTo>
                    <a:pt x="1637" y="1077"/>
                    <a:pt x="1635" y="1076"/>
                    <a:pt x="1633" y="1076"/>
                  </a:cubicBezTo>
                  <a:cubicBezTo>
                    <a:pt x="1632" y="1075"/>
                    <a:pt x="1630" y="1074"/>
                    <a:pt x="1628" y="1074"/>
                  </a:cubicBezTo>
                  <a:lnTo>
                    <a:pt x="1626" y="1073"/>
                  </a:lnTo>
                  <a:cubicBezTo>
                    <a:pt x="1624" y="1072"/>
                    <a:pt x="1621" y="1071"/>
                    <a:pt x="1619" y="1069"/>
                  </a:cubicBezTo>
                  <a:lnTo>
                    <a:pt x="1616" y="1068"/>
                  </a:lnTo>
                  <a:cubicBezTo>
                    <a:pt x="1614" y="1067"/>
                    <a:pt x="1611" y="1066"/>
                    <a:pt x="1609" y="1064"/>
                  </a:cubicBezTo>
                  <a:cubicBezTo>
                    <a:pt x="1606" y="1063"/>
                    <a:pt x="1603" y="1061"/>
                    <a:pt x="1600" y="1059"/>
                  </a:cubicBezTo>
                  <a:lnTo>
                    <a:pt x="1596" y="1057"/>
                  </a:lnTo>
                  <a:cubicBezTo>
                    <a:pt x="1592" y="1054"/>
                    <a:pt x="1588" y="1052"/>
                    <a:pt x="1584" y="1049"/>
                  </a:cubicBezTo>
                  <a:lnTo>
                    <a:pt x="1584" y="1048"/>
                  </a:lnTo>
                  <a:lnTo>
                    <a:pt x="1502" y="1068"/>
                  </a:lnTo>
                  <a:cubicBezTo>
                    <a:pt x="1520" y="1071"/>
                    <a:pt x="1538" y="1078"/>
                    <a:pt x="1555" y="1087"/>
                  </a:cubicBezTo>
                  <a:cubicBezTo>
                    <a:pt x="1582" y="1103"/>
                    <a:pt x="1603" y="1125"/>
                    <a:pt x="1617" y="1150"/>
                  </a:cubicBezTo>
                  <a:lnTo>
                    <a:pt x="1639" y="1078"/>
                  </a:lnTo>
                  <a:lnTo>
                    <a:pt x="1638" y="1077"/>
                  </a:lnTo>
                </a:path>
              </a:pathLst>
            </a:custGeom>
            <a:solidFill>
              <a:srgbClr val="F4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47">
              <a:extLst>
                <a:ext uri="{FF2B5EF4-FFF2-40B4-BE49-F238E27FC236}">
                  <a16:creationId xmlns:a16="http://schemas.microsoft.com/office/drawing/2014/main" id="{94FF56C1-10A1-F87D-0F81-28731A187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84925" y="1749425"/>
              <a:ext cx="1139825" cy="1154113"/>
            </a:xfrm>
            <a:custGeom>
              <a:avLst/>
              <a:gdLst>
                <a:gd name="T0" fmla="*/ 1049 w 2523"/>
                <a:gd name="T1" fmla="*/ 2124 h 2527"/>
                <a:gd name="T2" fmla="*/ 376 w 2523"/>
                <a:gd name="T3" fmla="*/ 1264 h 2527"/>
                <a:gd name="T4" fmla="*/ 434 w 2523"/>
                <a:gd name="T5" fmla="*/ 945 h 2527"/>
                <a:gd name="T6" fmla="*/ 462 w 2523"/>
                <a:gd name="T7" fmla="*/ 881 h 2527"/>
                <a:gd name="T8" fmla="*/ 593 w 2523"/>
                <a:gd name="T9" fmla="*/ 682 h 2527"/>
                <a:gd name="T10" fmla="*/ 677 w 2523"/>
                <a:gd name="T11" fmla="*/ 598 h 2527"/>
                <a:gd name="T12" fmla="*/ 771 w 2523"/>
                <a:gd name="T13" fmla="*/ 527 h 2527"/>
                <a:gd name="T14" fmla="*/ 1417 w 2523"/>
                <a:gd name="T15" fmla="*/ 391 h 2527"/>
                <a:gd name="T16" fmla="*/ 2148 w 2523"/>
                <a:gd name="T17" fmla="*/ 1233 h 2527"/>
                <a:gd name="T18" fmla="*/ 2083 w 2523"/>
                <a:gd name="T19" fmla="*/ 1598 h 2527"/>
                <a:gd name="T20" fmla="*/ 2015 w 2523"/>
                <a:gd name="T21" fmla="*/ 1731 h 2527"/>
                <a:gd name="T22" fmla="*/ 1923 w 2523"/>
                <a:gd name="T23" fmla="*/ 1854 h 2527"/>
                <a:gd name="T24" fmla="*/ 1862 w 2523"/>
                <a:gd name="T25" fmla="*/ 1916 h 2527"/>
                <a:gd name="T26" fmla="*/ 1815 w 2523"/>
                <a:gd name="T27" fmla="*/ 1956 h 2527"/>
                <a:gd name="T28" fmla="*/ 1705 w 2523"/>
                <a:gd name="T29" fmla="*/ 2031 h 2527"/>
                <a:gd name="T30" fmla="*/ 1610 w 2523"/>
                <a:gd name="T31" fmla="*/ 2079 h 2527"/>
                <a:gd name="T32" fmla="*/ 1466 w 2523"/>
                <a:gd name="T33" fmla="*/ 2126 h 2527"/>
                <a:gd name="T34" fmla="*/ 2365 w 2523"/>
                <a:gd name="T35" fmla="*/ 1325 h 2527"/>
                <a:gd name="T36" fmla="*/ 2325 w 2523"/>
                <a:gd name="T37" fmla="*/ 1233 h 2527"/>
                <a:gd name="T38" fmla="*/ 2501 w 2523"/>
                <a:gd name="T39" fmla="*/ 990 h 2527"/>
                <a:gd name="T40" fmla="*/ 2261 w 2523"/>
                <a:gd name="T41" fmla="*/ 895 h 2527"/>
                <a:gd name="T42" fmla="*/ 2426 w 2523"/>
                <a:gd name="T43" fmla="*/ 758 h 2527"/>
                <a:gd name="T44" fmla="*/ 2095 w 2523"/>
                <a:gd name="T45" fmla="*/ 599 h 2527"/>
                <a:gd name="T46" fmla="*/ 1906 w 2523"/>
                <a:gd name="T47" fmla="*/ 172 h 2527"/>
                <a:gd name="T48" fmla="*/ 1547 w 2523"/>
                <a:gd name="T49" fmla="*/ 233 h 2527"/>
                <a:gd name="T50" fmla="*/ 1374 w 2523"/>
                <a:gd name="T51" fmla="*/ 21 h 2527"/>
                <a:gd name="T52" fmla="*/ 1216 w 2523"/>
                <a:gd name="T53" fmla="*/ 199 h 2527"/>
                <a:gd name="T54" fmla="*/ 979 w 2523"/>
                <a:gd name="T55" fmla="*/ 183 h 2527"/>
                <a:gd name="T56" fmla="*/ 665 w 2523"/>
                <a:gd name="T57" fmla="*/ 144 h 2527"/>
                <a:gd name="T58" fmla="*/ 313 w 2523"/>
                <a:gd name="T59" fmla="*/ 426 h 2527"/>
                <a:gd name="T60" fmla="*/ 380 w 2523"/>
                <a:gd name="T61" fmla="*/ 665 h 2527"/>
                <a:gd name="T62" fmla="*/ 262 w 2523"/>
                <a:gd name="T63" fmla="*/ 890 h 2527"/>
                <a:gd name="T64" fmla="*/ 0 w 2523"/>
                <a:gd name="T65" fmla="*/ 1141 h 2527"/>
                <a:gd name="T66" fmla="*/ 234 w 2523"/>
                <a:gd name="T67" fmla="*/ 1548 h 2527"/>
                <a:gd name="T68" fmla="*/ 168 w 2523"/>
                <a:gd name="T69" fmla="*/ 1907 h 2527"/>
                <a:gd name="T70" fmla="*/ 312 w 2523"/>
                <a:gd name="T71" fmla="*/ 2099 h 2527"/>
                <a:gd name="T72" fmla="*/ 758 w 2523"/>
                <a:gd name="T73" fmla="*/ 2425 h 2527"/>
                <a:gd name="T74" fmla="*/ 926 w 2523"/>
                <a:gd name="T75" fmla="*/ 2273 h 2527"/>
                <a:gd name="T76" fmla="*/ 980 w 2523"/>
                <a:gd name="T77" fmla="*/ 2385 h 2527"/>
                <a:gd name="T78" fmla="*/ 984 w 2523"/>
                <a:gd name="T79" fmla="*/ 2463 h 2527"/>
                <a:gd name="T80" fmla="*/ 1029 w 2523"/>
                <a:gd name="T81" fmla="*/ 2512 h 2527"/>
                <a:gd name="T82" fmla="*/ 1142 w 2523"/>
                <a:gd name="T83" fmla="*/ 2522 h 2527"/>
                <a:gd name="T84" fmla="*/ 1308 w 2523"/>
                <a:gd name="T85" fmla="*/ 2330 h 2527"/>
                <a:gd name="T86" fmla="*/ 1544 w 2523"/>
                <a:gd name="T87" fmla="*/ 2401 h 2527"/>
                <a:gd name="T88" fmla="*/ 1698 w 2523"/>
                <a:gd name="T89" fmla="*/ 2343 h 2527"/>
                <a:gd name="T90" fmla="*/ 1905 w 2523"/>
                <a:gd name="T91" fmla="*/ 2355 h 2527"/>
                <a:gd name="T92" fmla="*/ 1888 w 2523"/>
                <a:gd name="T93" fmla="*/ 2277 h 2527"/>
                <a:gd name="T94" fmla="*/ 1947 w 2523"/>
                <a:gd name="T95" fmla="*/ 2112 h 2527"/>
                <a:gd name="T96" fmla="*/ 2127 w 2523"/>
                <a:gd name="T97" fmla="*/ 2191 h 2527"/>
                <a:gd name="T98" fmla="*/ 2180 w 2523"/>
                <a:gd name="T99" fmla="*/ 2140 h 2527"/>
                <a:gd name="T100" fmla="*/ 2172 w 2523"/>
                <a:gd name="T101" fmla="*/ 2037 h 2527"/>
                <a:gd name="T102" fmla="*/ 2099 w 2523"/>
                <a:gd name="T103" fmla="*/ 1933 h 2527"/>
                <a:gd name="T104" fmla="*/ 2425 w 2523"/>
                <a:gd name="T105" fmla="*/ 1770 h 2527"/>
                <a:gd name="T106" fmla="*/ 2500 w 2523"/>
                <a:gd name="T107" fmla="*/ 1538 h 2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23" h="2527">
                  <a:moveTo>
                    <a:pt x="1314" y="2148"/>
                  </a:moveTo>
                  <a:cubicBezTo>
                    <a:pt x="1298" y="2149"/>
                    <a:pt x="1281" y="2150"/>
                    <a:pt x="1264" y="2150"/>
                  </a:cubicBezTo>
                  <a:cubicBezTo>
                    <a:pt x="1251" y="2150"/>
                    <a:pt x="1238" y="2149"/>
                    <a:pt x="1225" y="2149"/>
                  </a:cubicBezTo>
                  <a:cubicBezTo>
                    <a:pt x="1209" y="2148"/>
                    <a:pt x="1192" y="2147"/>
                    <a:pt x="1176" y="2146"/>
                  </a:cubicBezTo>
                  <a:cubicBezTo>
                    <a:pt x="1133" y="2142"/>
                    <a:pt x="1090" y="2134"/>
                    <a:pt x="1049" y="2124"/>
                  </a:cubicBezTo>
                  <a:cubicBezTo>
                    <a:pt x="1009" y="2114"/>
                    <a:pt x="970" y="2102"/>
                    <a:pt x="932" y="2087"/>
                  </a:cubicBezTo>
                  <a:cubicBezTo>
                    <a:pt x="926" y="2084"/>
                    <a:pt x="920" y="2082"/>
                    <a:pt x="914" y="2079"/>
                  </a:cubicBezTo>
                  <a:cubicBezTo>
                    <a:pt x="902" y="2074"/>
                    <a:pt x="890" y="2068"/>
                    <a:pt x="878" y="2063"/>
                  </a:cubicBezTo>
                  <a:cubicBezTo>
                    <a:pt x="824" y="2037"/>
                    <a:pt x="773" y="2006"/>
                    <a:pt x="726" y="1970"/>
                  </a:cubicBezTo>
                  <a:cubicBezTo>
                    <a:pt x="516" y="1811"/>
                    <a:pt x="376" y="1559"/>
                    <a:pt x="376" y="1264"/>
                  </a:cubicBezTo>
                  <a:cubicBezTo>
                    <a:pt x="376" y="1225"/>
                    <a:pt x="378" y="1187"/>
                    <a:pt x="383" y="1150"/>
                  </a:cubicBezTo>
                  <a:cubicBezTo>
                    <a:pt x="388" y="1107"/>
                    <a:pt x="397" y="1066"/>
                    <a:pt x="408" y="1026"/>
                  </a:cubicBezTo>
                  <a:cubicBezTo>
                    <a:pt x="411" y="1016"/>
                    <a:pt x="414" y="1006"/>
                    <a:pt x="417" y="996"/>
                  </a:cubicBezTo>
                  <a:cubicBezTo>
                    <a:pt x="420" y="986"/>
                    <a:pt x="423" y="976"/>
                    <a:pt x="427" y="966"/>
                  </a:cubicBezTo>
                  <a:cubicBezTo>
                    <a:pt x="429" y="959"/>
                    <a:pt x="431" y="952"/>
                    <a:pt x="434" y="945"/>
                  </a:cubicBezTo>
                  <a:lnTo>
                    <a:pt x="435" y="943"/>
                  </a:lnTo>
                  <a:cubicBezTo>
                    <a:pt x="437" y="939"/>
                    <a:pt x="439" y="934"/>
                    <a:pt x="441" y="930"/>
                  </a:cubicBezTo>
                  <a:cubicBezTo>
                    <a:pt x="443" y="924"/>
                    <a:pt x="445" y="918"/>
                    <a:pt x="448" y="912"/>
                  </a:cubicBezTo>
                  <a:cubicBezTo>
                    <a:pt x="449" y="909"/>
                    <a:pt x="451" y="905"/>
                    <a:pt x="452" y="902"/>
                  </a:cubicBezTo>
                  <a:cubicBezTo>
                    <a:pt x="455" y="895"/>
                    <a:pt x="458" y="888"/>
                    <a:pt x="462" y="881"/>
                  </a:cubicBezTo>
                  <a:cubicBezTo>
                    <a:pt x="466" y="872"/>
                    <a:pt x="470" y="863"/>
                    <a:pt x="475" y="854"/>
                  </a:cubicBezTo>
                  <a:cubicBezTo>
                    <a:pt x="480" y="845"/>
                    <a:pt x="485" y="836"/>
                    <a:pt x="490" y="828"/>
                  </a:cubicBezTo>
                  <a:cubicBezTo>
                    <a:pt x="494" y="819"/>
                    <a:pt x="500" y="810"/>
                    <a:pt x="505" y="802"/>
                  </a:cubicBezTo>
                  <a:cubicBezTo>
                    <a:pt x="526" y="767"/>
                    <a:pt x="549" y="735"/>
                    <a:pt x="574" y="704"/>
                  </a:cubicBezTo>
                  <a:cubicBezTo>
                    <a:pt x="580" y="697"/>
                    <a:pt x="587" y="689"/>
                    <a:pt x="593" y="682"/>
                  </a:cubicBezTo>
                  <a:cubicBezTo>
                    <a:pt x="599" y="675"/>
                    <a:pt x="606" y="668"/>
                    <a:pt x="612" y="661"/>
                  </a:cubicBezTo>
                  <a:lnTo>
                    <a:pt x="613" y="660"/>
                  </a:lnTo>
                  <a:cubicBezTo>
                    <a:pt x="620" y="653"/>
                    <a:pt x="627" y="645"/>
                    <a:pt x="634" y="639"/>
                  </a:cubicBezTo>
                  <a:cubicBezTo>
                    <a:pt x="641" y="632"/>
                    <a:pt x="648" y="625"/>
                    <a:pt x="655" y="618"/>
                  </a:cubicBezTo>
                  <a:cubicBezTo>
                    <a:pt x="662" y="611"/>
                    <a:pt x="670" y="604"/>
                    <a:pt x="677" y="598"/>
                  </a:cubicBezTo>
                  <a:cubicBezTo>
                    <a:pt x="682" y="594"/>
                    <a:pt x="687" y="589"/>
                    <a:pt x="692" y="585"/>
                  </a:cubicBezTo>
                  <a:cubicBezTo>
                    <a:pt x="695" y="583"/>
                    <a:pt x="697" y="581"/>
                    <a:pt x="700" y="579"/>
                  </a:cubicBezTo>
                  <a:cubicBezTo>
                    <a:pt x="703" y="576"/>
                    <a:pt x="707" y="573"/>
                    <a:pt x="710" y="570"/>
                  </a:cubicBezTo>
                  <a:lnTo>
                    <a:pt x="711" y="570"/>
                  </a:lnTo>
                  <a:cubicBezTo>
                    <a:pt x="730" y="555"/>
                    <a:pt x="750" y="540"/>
                    <a:pt x="771" y="527"/>
                  </a:cubicBezTo>
                  <a:cubicBezTo>
                    <a:pt x="779" y="521"/>
                    <a:pt x="787" y="516"/>
                    <a:pt x="796" y="511"/>
                  </a:cubicBezTo>
                  <a:cubicBezTo>
                    <a:pt x="830" y="490"/>
                    <a:pt x="865" y="471"/>
                    <a:pt x="902" y="454"/>
                  </a:cubicBezTo>
                  <a:cubicBezTo>
                    <a:pt x="919" y="447"/>
                    <a:pt x="936" y="440"/>
                    <a:pt x="954" y="433"/>
                  </a:cubicBezTo>
                  <a:cubicBezTo>
                    <a:pt x="1050" y="397"/>
                    <a:pt x="1153" y="377"/>
                    <a:pt x="1258" y="377"/>
                  </a:cubicBezTo>
                  <a:cubicBezTo>
                    <a:pt x="1312" y="377"/>
                    <a:pt x="1365" y="382"/>
                    <a:pt x="1417" y="391"/>
                  </a:cubicBezTo>
                  <a:cubicBezTo>
                    <a:pt x="1655" y="434"/>
                    <a:pt x="1866" y="573"/>
                    <a:pt x="1999" y="771"/>
                  </a:cubicBezTo>
                  <a:cubicBezTo>
                    <a:pt x="2046" y="841"/>
                    <a:pt x="2083" y="917"/>
                    <a:pt x="2108" y="998"/>
                  </a:cubicBezTo>
                  <a:cubicBezTo>
                    <a:pt x="2126" y="1056"/>
                    <a:pt x="2138" y="1115"/>
                    <a:pt x="2144" y="1177"/>
                  </a:cubicBezTo>
                  <a:cubicBezTo>
                    <a:pt x="2146" y="1192"/>
                    <a:pt x="2147" y="1208"/>
                    <a:pt x="2148" y="1223"/>
                  </a:cubicBezTo>
                  <a:cubicBezTo>
                    <a:pt x="2148" y="1226"/>
                    <a:pt x="2148" y="1229"/>
                    <a:pt x="2148" y="1233"/>
                  </a:cubicBezTo>
                  <a:cubicBezTo>
                    <a:pt x="2148" y="1240"/>
                    <a:pt x="2148" y="1248"/>
                    <a:pt x="2149" y="1256"/>
                  </a:cubicBezTo>
                  <a:cubicBezTo>
                    <a:pt x="2149" y="1293"/>
                    <a:pt x="2147" y="1330"/>
                    <a:pt x="2143" y="1366"/>
                  </a:cubicBezTo>
                  <a:cubicBezTo>
                    <a:pt x="2140" y="1388"/>
                    <a:pt x="2137" y="1411"/>
                    <a:pt x="2132" y="1433"/>
                  </a:cubicBezTo>
                  <a:cubicBezTo>
                    <a:pt x="2123" y="1481"/>
                    <a:pt x="2110" y="1527"/>
                    <a:pt x="2093" y="1572"/>
                  </a:cubicBezTo>
                  <a:cubicBezTo>
                    <a:pt x="2090" y="1581"/>
                    <a:pt x="2087" y="1589"/>
                    <a:pt x="2083" y="1598"/>
                  </a:cubicBezTo>
                  <a:cubicBezTo>
                    <a:pt x="2076" y="1615"/>
                    <a:pt x="2069" y="1631"/>
                    <a:pt x="2061" y="1648"/>
                  </a:cubicBezTo>
                  <a:cubicBezTo>
                    <a:pt x="2059" y="1652"/>
                    <a:pt x="2057" y="1656"/>
                    <a:pt x="2055" y="1661"/>
                  </a:cubicBezTo>
                  <a:cubicBezTo>
                    <a:pt x="2050" y="1670"/>
                    <a:pt x="2046" y="1678"/>
                    <a:pt x="2041" y="1687"/>
                  </a:cubicBezTo>
                  <a:cubicBezTo>
                    <a:pt x="2037" y="1694"/>
                    <a:pt x="2033" y="1701"/>
                    <a:pt x="2029" y="1709"/>
                  </a:cubicBezTo>
                  <a:cubicBezTo>
                    <a:pt x="2024" y="1716"/>
                    <a:pt x="2020" y="1724"/>
                    <a:pt x="2015" y="1731"/>
                  </a:cubicBezTo>
                  <a:cubicBezTo>
                    <a:pt x="2009" y="1741"/>
                    <a:pt x="2003" y="1750"/>
                    <a:pt x="1997" y="1759"/>
                  </a:cubicBezTo>
                  <a:cubicBezTo>
                    <a:pt x="1986" y="1776"/>
                    <a:pt x="1974" y="1792"/>
                    <a:pt x="1962" y="1808"/>
                  </a:cubicBezTo>
                  <a:cubicBezTo>
                    <a:pt x="1956" y="1816"/>
                    <a:pt x="1949" y="1824"/>
                    <a:pt x="1943" y="1831"/>
                  </a:cubicBezTo>
                  <a:lnTo>
                    <a:pt x="1942" y="1832"/>
                  </a:lnTo>
                  <a:cubicBezTo>
                    <a:pt x="1936" y="1839"/>
                    <a:pt x="1930" y="1847"/>
                    <a:pt x="1923" y="1854"/>
                  </a:cubicBezTo>
                  <a:cubicBezTo>
                    <a:pt x="1918" y="1859"/>
                    <a:pt x="1914" y="1865"/>
                    <a:pt x="1908" y="1870"/>
                  </a:cubicBezTo>
                  <a:cubicBezTo>
                    <a:pt x="1906" y="1873"/>
                    <a:pt x="1903" y="1876"/>
                    <a:pt x="1900" y="1879"/>
                  </a:cubicBezTo>
                  <a:lnTo>
                    <a:pt x="1895" y="1883"/>
                  </a:lnTo>
                  <a:cubicBezTo>
                    <a:pt x="1891" y="1888"/>
                    <a:pt x="1887" y="1892"/>
                    <a:pt x="1882" y="1897"/>
                  </a:cubicBezTo>
                  <a:cubicBezTo>
                    <a:pt x="1875" y="1903"/>
                    <a:pt x="1869" y="1910"/>
                    <a:pt x="1862" y="1916"/>
                  </a:cubicBezTo>
                  <a:lnTo>
                    <a:pt x="1862" y="1916"/>
                  </a:lnTo>
                  <a:lnTo>
                    <a:pt x="1860" y="1917"/>
                  </a:lnTo>
                  <a:cubicBezTo>
                    <a:pt x="1853" y="1924"/>
                    <a:pt x="1846" y="1931"/>
                    <a:pt x="1838" y="1937"/>
                  </a:cubicBezTo>
                  <a:cubicBezTo>
                    <a:pt x="1832" y="1943"/>
                    <a:pt x="1826" y="1948"/>
                    <a:pt x="1819" y="1953"/>
                  </a:cubicBezTo>
                  <a:lnTo>
                    <a:pt x="1815" y="1956"/>
                  </a:lnTo>
                  <a:cubicBezTo>
                    <a:pt x="1800" y="1969"/>
                    <a:pt x="1784" y="1981"/>
                    <a:pt x="1767" y="1992"/>
                  </a:cubicBezTo>
                  <a:cubicBezTo>
                    <a:pt x="1759" y="1998"/>
                    <a:pt x="1751" y="2003"/>
                    <a:pt x="1742" y="2008"/>
                  </a:cubicBezTo>
                  <a:cubicBezTo>
                    <a:pt x="1738" y="2012"/>
                    <a:pt x="1733" y="2015"/>
                    <a:pt x="1728" y="2018"/>
                  </a:cubicBezTo>
                  <a:lnTo>
                    <a:pt x="1720" y="2022"/>
                  </a:lnTo>
                  <a:cubicBezTo>
                    <a:pt x="1715" y="2025"/>
                    <a:pt x="1710" y="2029"/>
                    <a:pt x="1705" y="2031"/>
                  </a:cubicBezTo>
                  <a:cubicBezTo>
                    <a:pt x="1700" y="2034"/>
                    <a:pt x="1696" y="2037"/>
                    <a:pt x="1691" y="2039"/>
                  </a:cubicBezTo>
                  <a:cubicBezTo>
                    <a:pt x="1683" y="2044"/>
                    <a:pt x="1674" y="2049"/>
                    <a:pt x="1665" y="2053"/>
                  </a:cubicBezTo>
                  <a:lnTo>
                    <a:pt x="1664" y="2054"/>
                  </a:lnTo>
                  <a:cubicBezTo>
                    <a:pt x="1655" y="2058"/>
                    <a:pt x="1647" y="2062"/>
                    <a:pt x="1638" y="2066"/>
                  </a:cubicBezTo>
                  <a:cubicBezTo>
                    <a:pt x="1629" y="2071"/>
                    <a:pt x="1620" y="2075"/>
                    <a:pt x="1610" y="2079"/>
                  </a:cubicBezTo>
                  <a:cubicBezTo>
                    <a:pt x="1601" y="2083"/>
                    <a:pt x="1592" y="2087"/>
                    <a:pt x="1582" y="2090"/>
                  </a:cubicBezTo>
                  <a:cubicBezTo>
                    <a:pt x="1573" y="2094"/>
                    <a:pt x="1563" y="2097"/>
                    <a:pt x="1554" y="2101"/>
                  </a:cubicBezTo>
                  <a:cubicBezTo>
                    <a:pt x="1544" y="2104"/>
                    <a:pt x="1535" y="2107"/>
                    <a:pt x="1525" y="2110"/>
                  </a:cubicBezTo>
                  <a:cubicBezTo>
                    <a:pt x="1516" y="2113"/>
                    <a:pt x="1506" y="2116"/>
                    <a:pt x="1496" y="2119"/>
                  </a:cubicBezTo>
                  <a:cubicBezTo>
                    <a:pt x="1486" y="2121"/>
                    <a:pt x="1476" y="2124"/>
                    <a:pt x="1466" y="2126"/>
                  </a:cubicBezTo>
                  <a:cubicBezTo>
                    <a:pt x="1446" y="2131"/>
                    <a:pt x="1426" y="2135"/>
                    <a:pt x="1406" y="2138"/>
                  </a:cubicBezTo>
                  <a:cubicBezTo>
                    <a:pt x="1396" y="2140"/>
                    <a:pt x="1386" y="2141"/>
                    <a:pt x="1375" y="2143"/>
                  </a:cubicBezTo>
                  <a:cubicBezTo>
                    <a:pt x="1355" y="2145"/>
                    <a:pt x="1335" y="2147"/>
                    <a:pt x="1314" y="2148"/>
                  </a:cubicBezTo>
                  <a:moveTo>
                    <a:pt x="2522" y="1383"/>
                  </a:moveTo>
                  <a:cubicBezTo>
                    <a:pt x="2471" y="1359"/>
                    <a:pt x="2418" y="1343"/>
                    <a:pt x="2365" y="1325"/>
                  </a:cubicBezTo>
                  <a:cubicBezTo>
                    <a:pt x="2354" y="1321"/>
                    <a:pt x="2342" y="1317"/>
                    <a:pt x="2331" y="1312"/>
                  </a:cubicBezTo>
                  <a:cubicBezTo>
                    <a:pt x="2329" y="1308"/>
                    <a:pt x="2328" y="1304"/>
                    <a:pt x="2327" y="1299"/>
                  </a:cubicBezTo>
                  <a:lnTo>
                    <a:pt x="2327" y="1298"/>
                  </a:lnTo>
                  <a:cubicBezTo>
                    <a:pt x="2324" y="1284"/>
                    <a:pt x="2325" y="1269"/>
                    <a:pt x="2325" y="1254"/>
                  </a:cubicBezTo>
                  <a:cubicBezTo>
                    <a:pt x="2326" y="1247"/>
                    <a:pt x="2326" y="1240"/>
                    <a:pt x="2325" y="1233"/>
                  </a:cubicBezTo>
                  <a:cubicBezTo>
                    <a:pt x="2325" y="1228"/>
                    <a:pt x="2325" y="1223"/>
                    <a:pt x="2324" y="1219"/>
                  </a:cubicBezTo>
                  <a:cubicBezTo>
                    <a:pt x="2338" y="1214"/>
                    <a:pt x="2351" y="1209"/>
                    <a:pt x="2365" y="1204"/>
                  </a:cubicBezTo>
                  <a:cubicBezTo>
                    <a:pt x="2418" y="1184"/>
                    <a:pt x="2469" y="1166"/>
                    <a:pt x="2521" y="1147"/>
                  </a:cubicBezTo>
                  <a:cubicBezTo>
                    <a:pt x="2523" y="1124"/>
                    <a:pt x="2522" y="1102"/>
                    <a:pt x="2519" y="1080"/>
                  </a:cubicBezTo>
                  <a:cubicBezTo>
                    <a:pt x="2515" y="1050"/>
                    <a:pt x="2507" y="1020"/>
                    <a:pt x="2501" y="990"/>
                  </a:cubicBezTo>
                  <a:cubicBezTo>
                    <a:pt x="2466" y="981"/>
                    <a:pt x="2432" y="984"/>
                    <a:pt x="2398" y="983"/>
                  </a:cubicBezTo>
                  <a:lnTo>
                    <a:pt x="2397" y="983"/>
                  </a:lnTo>
                  <a:cubicBezTo>
                    <a:pt x="2362" y="981"/>
                    <a:pt x="2328" y="981"/>
                    <a:pt x="2293" y="981"/>
                  </a:cubicBezTo>
                  <a:lnTo>
                    <a:pt x="2291" y="977"/>
                  </a:lnTo>
                  <a:cubicBezTo>
                    <a:pt x="2277" y="951"/>
                    <a:pt x="2272" y="923"/>
                    <a:pt x="2261" y="895"/>
                  </a:cubicBezTo>
                  <a:cubicBezTo>
                    <a:pt x="2268" y="888"/>
                    <a:pt x="2273" y="879"/>
                    <a:pt x="2281" y="873"/>
                  </a:cubicBezTo>
                  <a:cubicBezTo>
                    <a:pt x="2299" y="859"/>
                    <a:pt x="2317" y="846"/>
                    <a:pt x="2335" y="832"/>
                  </a:cubicBezTo>
                  <a:cubicBezTo>
                    <a:pt x="2354" y="817"/>
                    <a:pt x="2373" y="803"/>
                    <a:pt x="2392" y="788"/>
                  </a:cubicBezTo>
                  <a:cubicBezTo>
                    <a:pt x="2401" y="781"/>
                    <a:pt x="2408" y="774"/>
                    <a:pt x="2418" y="766"/>
                  </a:cubicBezTo>
                  <a:cubicBezTo>
                    <a:pt x="2420" y="763"/>
                    <a:pt x="2423" y="761"/>
                    <a:pt x="2426" y="758"/>
                  </a:cubicBezTo>
                  <a:cubicBezTo>
                    <a:pt x="2413" y="727"/>
                    <a:pt x="2400" y="697"/>
                    <a:pt x="2384" y="669"/>
                  </a:cubicBezTo>
                  <a:cubicBezTo>
                    <a:pt x="2375" y="652"/>
                    <a:pt x="2365" y="636"/>
                    <a:pt x="2354" y="620"/>
                  </a:cubicBezTo>
                  <a:cubicBezTo>
                    <a:pt x="2305" y="628"/>
                    <a:pt x="2258" y="643"/>
                    <a:pt x="2211" y="658"/>
                  </a:cubicBezTo>
                  <a:cubicBezTo>
                    <a:pt x="2192" y="665"/>
                    <a:pt x="2172" y="671"/>
                    <a:pt x="2152" y="676"/>
                  </a:cubicBezTo>
                  <a:cubicBezTo>
                    <a:pt x="2133" y="650"/>
                    <a:pt x="2115" y="626"/>
                    <a:pt x="2095" y="599"/>
                  </a:cubicBezTo>
                  <a:cubicBezTo>
                    <a:pt x="2136" y="541"/>
                    <a:pt x="2178" y="486"/>
                    <a:pt x="2212" y="425"/>
                  </a:cubicBezTo>
                  <a:cubicBezTo>
                    <a:pt x="2180" y="382"/>
                    <a:pt x="2142" y="347"/>
                    <a:pt x="2103" y="313"/>
                  </a:cubicBezTo>
                  <a:cubicBezTo>
                    <a:pt x="2039" y="347"/>
                    <a:pt x="1985" y="390"/>
                    <a:pt x="1926" y="431"/>
                  </a:cubicBezTo>
                  <a:cubicBezTo>
                    <a:pt x="1900" y="411"/>
                    <a:pt x="1875" y="393"/>
                    <a:pt x="1851" y="375"/>
                  </a:cubicBezTo>
                  <a:cubicBezTo>
                    <a:pt x="1867" y="305"/>
                    <a:pt x="1895" y="241"/>
                    <a:pt x="1906" y="172"/>
                  </a:cubicBezTo>
                  <a:cubicBezTo>
                    <a:pt x="1864" y="142"/>
                    <a:pt x="1818" y="122"/>
                    <a:pt x="1770" y="101"/>
                  </a:cubicBezTo>
                  <a:cubicBezTo>
                    <a:pt x="1762" y="109"/>
                    <a:pt x="1752" y="116"/>
                    <a:pt x="1745" y="125"/>
                  </a:cubicBezTo>
                  <a:cubicBezTo>
                    <a:pt x="1717" y="160"/>
                    <a:pt x="1690" y="196"/>
                    <a:pt x="1662" y="232"/>
                  </a:cubicBezTo>
                  <a:cubicBezTo>
                    <a:pt x="1654" y="242"/>
                    <a:pt x="1645" y="253"/>
                    <a:pt x="1636" y="264"/>
                  </a:cubicBezTo>
                  <a:cubicBezTo>
                    <a:pt x="1604" y="256"/>
                    <a:pt x="1575" y="249"/>
                    <a:pt x="1547" y="233"/>
                  </a:cubicBezTo>
                  <a:cubicBezTo>
                    <a:pt x="1544" y="202"/>
                    <a:pt x="1545" y="170"/>
                    <a:pt x="1545" y="138"/>
                  </a:cubicBezTo>
                  <a:cubicBezTo>
                    <a:pt x="1545" y="101"/>
                    <a:pt x="1544" y="63"/>
                    <a:pt x="1534" y="26"/>
                  </a:cubicBezTo>
                  <a:cubicBezTo>
                    <a:pt x="1489" y="11"/>
                    <a:pt x="1443" y="8"/>
                    <a:pt x="1395" y="1"/>
                  </a:cubicBezTo>
                  <a:cubicBezTo>
                    <a:pt x="1392" y="1"/>
                    <a:pt x="1390" y="0"/>
                    <a:pt x="1388" y="0"/>
                  </a:cubicBezTo>
                  <a:cubicBezTo>
                    <a:pt x="1384" y="7"/>
                    <a:pt x="1378" y="14"/>
                    <a:pt x="1374" y="21"/>
                  </a:cubicBezTo>
                  <a:cubicBezTo>
                    <a:pt x="1373" y="24"/>
                    <a:pt x="1371" y="27"/>
                    <a:pt x="1370" y="30"/>
                  </a:cubicBezTo>
                  <a:cubicBezTo>
                    <a:pt x="1353" y="77"/>
                    <a:pt x="1337" y="124"/>
                    <a:pt x="1320" y="171"/>
                  </a:cubicBezTo>
                  <a:cubicBezTo>
                    <a:pt x="1317" y="179"/>
                    <a:pt x="1314" y="187"/>
                    <a:pt x="1310" y="196"/>
                  </a:cubicBezTo>
                  <a:cubicBezTo>
                    <a:pt x="1288" y="200"/>
                    <a:pt x="1267" y="199"/>
                    <a:pt x="1245" y="199"/>
                  </a:cubicBezTo>
                  <a:cubicBezTo>
                    <a:pt x="1236" y="199"/>
                    <a:pt x="1226" y="199"/>
                    <a:pt x="1216" y="199"/>
                  </a:cubicBezTo>
                  <a:cubicBezTo>
                    <a:pt x="1190" y="139"/>
                    <a:pt x="1176" y="76"/>
                    <a:pt x="1149" y="17"/>
                  </a:cubicBezTo>
                  <a:cubicBezTo>
                    <a:pt x="1146" y="12"/>
                    <a:pt x="1144" y="8"/>
                    <a:pt x="1141" y="3"/>
                  </a:cubicBezTo>
                  <a:cubicBezTo>
                    <a:pt x="1091" y="2"/>
                    <a:pt x="1042" y="13"/>
                    <a:pt x="991" y="24"/>
                  </a:cubicBezTo>
                  <a:cubicBezTo>
                    <a:pt x="989" y="34"/>
                    <a:pt x="985" y="44"/>
                    <a:pt x="985" y="53"/>
                  </a:cubicBezTo>
                  <a:cubicBezTo>
                    <a:pt x="982" y="96"/>
                    <a:pt x="981" y="140"/>
                    <a:pt x="979" y="183"/>
                  </a:cubicBezTo>
                  <a:cubicBezTo>
                    <a:pt x="978" y="200"/>
                    <a:pt x="978" y="217"/>
                    <a:pt x="978" y="236"/>
                  </a:cubicBezTo>
                  <a:cubicBezTo>
                    <a:pt x="948" y="246"/>
                    <a:pt x="920" y="255"/>
                    <a:pt x="891" y="265"/>
                  </a:cubicBezTo>
                  <a:cubicBezTo>
                    <a:pt x="864" y="241"/>
                    <a:pt x="848" y="210"/>
                    <a:pt x="827" y="184"/>
                  </a:cubicBezTo>
                  <a:cubicBezTo>
                    <a:pt x="805" y="157"/>
                    <a:pt x="783" y="130"/>
                    <a:pt x="763" y="104"/>
                  </a:cubicBezTo>
                  <a:cubicBezTo>
                    <a:pt x="733" y="109"/>
                    <a:pt x="700" y="123"/>
                    <a:pt x="665" y="144"/>
                  </a:cubicBezTo>
                  <a:cubicBezTo>
                    <a:pt x="650" y="152"/>
                    <a:pt x="635" y="162"/>
                    <a:pt x="620" y="173"/>
                  </a:cubicBezTo>
                  <a:cubicBezTo>
                    <a:pt x="628" y="240"/>
                    <a:pt x="656" y="304"/>
                    <a:pt x="674" y="372"/>
                  </a:cubicBezTo>
                  <a:cubicBezTo>
                    <a:pt x="653" y="395"/>
                    <a:pt x="625" y="410"/>
                    <a:pt x="599" y="429"/>
                  </a:cubicBezTo>
                  <a:cubicBezTo>
                    <a:pt x="541" y="390"/>
                    <a:pt x="484" y="352"/>
                    <a:pt x="429" y="315"/>
                  </a:cubicBezTo>
                  <a:cubicBezTo>
                    <a:pt x="391" y="336"/>
                    <a:pt x="352" y="374"/>
                    <a:pt x="313" y="426"/>
                  </a:cubicBezTo>
                  <a:cubicBezTo>
                    <a:pt x="345" y="485"/>
                    <a:pt x="388" y="539"/>
                    <a:pt x="428" y="597"/>
                  </a:cubicBezTo>
                  <a:cubicBezTo>
                    <a:pt x="425" y="602"/>
                    <a:pt x="423" y="606"/>
                    <a:pt x="420" y="610"/>
                  </a:cubicBezTo>
                  <a:cubicBezTo>
                    <a:pt x="418" y="614"/>
                    <a:pt x="416" y="618"/>
                    <a:pt x="413" y="622"/>
                  </a:cubicBezTo>
                  <a:cubicBezTo>
                    <a:pt x="408" y="630"/>
                    <a:pt x="402" y="638"/>
                    <a:pt x="395" y="646"/>
                  </a:cubicBezTo>
                  <a:cubicBezTo>
                    <a:pt x="391" y="653"/>
                    <a:pt x="386" y="659"/>
                    <a:pt x="380" y="665"/>
                  </a:cubicBezTo>
                  <a:cubicBezTo>
                    <a:pt x="378" y="668"/>
                    <a:pt x="375" y="671"/>
                    <a:pt x="372" y="674"/>
                  </a:cubicBezTo>
                  <a:lnTo>
                    <a:pt x="372" y="674"/>
                  </a:lnTo>
                  <a:cubicBezTo>
                    <a:pt x="305" y="660"/>
                    <a:pt x="241" y="631"/>
                    <a:pt x="171" y="620"/>
                  </a:cubicBezTo>
                  <a:cubicBezTo>
                    <a:pt x="139" y="662"/>
                    <a:pt x="120" y="709"/>
                    <a:pt x="99" y="757"/>
                  </a:cubicBezTo>
                  <a:cubicBezTo>
                    <a:pt x="149" y="809"/>
                    <a:pt x="210" y="844"/>
                    <a:pt x="262" y="890"/>
                  </a:cubicBezTo>
                  <a:cubicBezTo>
                    <a:pt x="258" y="904"/>
                    <a:pt x="255" y="918"/>
                    <a:pt x="251" y="931"/>
                  </a:cubicBezTo>
                  <a:cubicBezTo>
                    <a:pt x="246" y="947"/>
                    <a:pt x="240" y="963"/>
                    <a:pt x="234" y="980"/>
                  </a:cubicBezTo>
                  <a:cubicBezTo>
                    <a:pt x="227" y="980"/>
                    <a:pt x="220" y="981"/>
                    <a:pt x="214" y="981"/>
                  </a:cubicBezTo>
                  <a:cubicBezTo>
                    <a:pt x="150" y="984"/>
                    <a:pt x="87" y="980"/>
                    <a:pt x="24" y="989"/>
                  </a:cubicBezTo>
                  <a:cubicBezTo>
                    <a:pt x="11" y="1039"/>
                    <a:pt x="3" y="1088"/>
                    <a:pt x="0" y="1141"/>
                  </a:cubicBezTo>
                  <a:cubicBezTo>
                    <a:pt x="61" y="1175"/>
                    <a:pt x="129" y="1190"/>
                    <a:pt x="194" y="1215"/>
                  </a:cubicBezTo>
                  <a:cubicBezTo>
                    <a:pt x="202" y="1246"/>
                    <a:pt x="198" y="1276"/>
                    <a:pt x="197" y="1310"/>
                  </a:cubicBezTo>
                  <a:cubicBezTo>
                    <a:pt x="132" y="1334"/>
                    <a:pt x="68" y="1357"/>
                    <a:pt x="3" y="1381"/>
                  </a:cubicBezTo>
                  <a:cubicBezTo>
                    <a:pt x="0" y="1436"/>
                    <a:pt x="12" y="1486"/>
                    <a:pt x="24" y="1538"/>
                  </a:cubicBezTo>
                  <a:cubicBezTo>
                    <a:pt x="94" y="1549"/>
                    <a:pt x="163" y="1541"/>
                    <a:pt x="234" y="1548"/>
                  </a:cubicBezTo>
                  <a:cubicBezTo>
                    <a:pt x="239" y="1563"/>
                    <a:pt x="245" y="1577"/>
                    <a:pt x="250" y="1592"/>
                  </a:cubicBezTo>
                  <a:cubicBezTo>
                    <a:pt x="255" y="1607"/>
                    <a:pt x="258" y="1621"/>
                    <a:pt x="263" y="1638"/>
                  </a:cubicBezTo>
                  <a:cubicBezTo>
                    <a:pt x="229" y="1666"/>
                    <a:pt x="194" y="1690"/>
                    <a:pt x="160" y="1717"/>
                  </a:cubicBezTo>
                  <a:cubicBezTo>
                    <a:pt x="139" y="1733"/>
                    <a:pt x="119" y="1750"/>
                    <a:pt x="99" y="1768"/>
                  </a:cubicBezTo>
                  <a:cubicBezTo>
                    <a:pt x="117" y="1818"/>
                    <a:pt x="141" y="1861"/>
                    <a:pt x="168" y="1907"/>
                  </a:cubicBezTo>
                  <a:cubicBezTo>
                    <a:pt x="194" y="1903"/>
                    <a:pt x="219" y="1897"/>
                    <a:pt x="244" y="1890"/>
                  </a:cubicBezTo>
                  <a:cubicBezTo>
                    <a:pt x="286" y="1879"/>
                    <a:pt x="327" y="1864"/>
                    <a:pt x="371" y="1851"/>
                  </a:cubicBezTo>
                  <a:cubicBezTo>
                    <a:pt x="381" y="1864"/>
                    <a:pt x="390" y="1875"/>
                    <a:pt x="400" y="1887"/>
                  </a:cubicBezTo>
                  <a:cubicBezTo>
                    <a:pt x="409" y="1899"/>
                    <a:pt x="417" y="1912"/>
                    <a:pt x="428" y="1927"/>
                  </a:cubicBezTo>
                  <a:cubicBezTo>
                    <a:pt x="389" y="1984"/>
                    <a:pt x="351" y="2041"/>
                    <a:pt x="312" y="2099"/>
                  </a:cubicBezTo>
                  <a:cubicBezTo>
                    <a:pt x="341" y="2145"/>
                    <a:pt x="382" y="2177"/>
                    <a:pt x="421" y="2215"/>
                  </a:cubicBezTo>
                  <a:cubicBezTo>
                    <a:pt x="483" y="2181"/>
                    <a:pt x="538" y="2138"/>
                    <a:pt x="595" y="2098"/>
                  </a:cubicBezTo>
                  <a:cubicBezTo>
                    <a:pt x="624" y="2112"/>
                    <a:pt x="647" y="2133"/>
                    <a:pt x="674" y="2152"/>
                  </a:cubicBezTo>
                  <a:cubicBezTo>
                    <a:pt x="658" y="2220"/>
                    <a:pt x="630" y="2283"/>
                    <a:pt x="619" y="2351"/>
                  </a:cubicBezTo>
                  <a:cubicBezTo>
                    <a:pt x="651" y="2380"/>
                    <a:pt x="699" y="2406"/>
                    <a:pt x="758" y="2425"/>
                  </a:cubicBezTo>
                  <a:cubicBezTo>
                    <a:pt x="806" y="2377"/>
                    <a:pt x="843" y="2319"/>
                    <a:pt x="886" y="2264"/>
                  </a:cubicBezTo>
                  <a:cubicBezTo>
                    <a:pt x="890" y="2264"/>
                    <a:pt x="894" y="2265"/>
                    <a:pt x="898" y="2266"/>
                  </a:cubicBezTo>
                  <a:cubicBezTo>
                    <a:pt x="902" y="2267"/>
                    <a:pt x="907" y="2268"/>
                    <a:pt x="912" y="2269"/>
                  </a:cubicBezTo>
                  <a:cubicBezTo>
                    <a:pt x="914" y="2270"/>
                    <a:pt x="917" y="2270"/>
                    <a:pt x="919" y="2271"/>
                  </a:cubicBezTo>
                  <a:cubicBezTo>
                    <a:pt x="921" y="2272"/>
                    <a:pt x="923" y="2272"/>
                    <a:pt x="926" y="2273"/>
                  </a:cubicBezTo>
                  <a:cubicBezTo>
                    <a:pt x="930" y="2274"/>
                    <a:pt x="934" y="2275"/>
                    <a:pt x="938" y="2277"/>
                  </a:cubicBezTo>
                  <a:cubicBezTo>
                    <a:pt x="951" y="2282"/>
                    <a:pt x="964" y="2287"/>
                    <a:pt x="977" y="2294"/>
                  </a:cubicBezTo>
                  <a:cubicBezTo>
                    <a:pt x="978" y="2303"/>
                    <a:pt x="978" y="2312"/>
                    <a:pt x="978" y="2322"/>
                  </a:cubicBezTo>
                  <a:cubicBezTo>
                    <a:pt x="979" y="2331"/>
                    <a:pt x="979" y="2340"/>
                    <a:pt x="979" y="2350"/>
                  </a:cubicBezTo>
                  <a:cubicBezTo>
                    <a:pt x="979" y="2361"/>
                    <a:pt x="979" y="2373"/>
                    <a:pt x="980" y="2385"/>
                  </a:cubicBezTo>
                  <a:cubicBezTo>
                    <a:pt x="980" y="2394"/>
                    <a:pt x="980" y="2404"/>
                    <a:pt x="980" y="2413"/>
                  </a:cubicBezTo>
                  <a:cubicBezTo>
                    <a:pt x="981" y="2418"/>
                    <a:pt x="981" y="2424"/>
                    <a:pt x="981" y="2429"/>
                  </a:cubicBezTo>
                  <a:cubicBezTo>
                    <a:pt x="982" y="2435"/>
                    <a:pt x="982" y="2440"/>
                    <a:pt x="982" y="2445"/>
                  </a:cubicBezTo>
                  <a:cubicBezTo>
                    <a:pt x="983" y="2451"/>
                    <a:pt x="983" y="2456"/>
                    <a:pt x="984" y="2462"/>
                  </a:cubicBezTo>
                  <a:lnTo>
                    <a:pt x="984" y="2463"/>
                  </a:lnTo>
                  <a:cubicBezTo>
                    <a:pt x="984" y="2469"/>
                    <a:pt x="985" y="2476"/>
                    <a:pt x="986" y="2482"/>
                  </a:cubicBezTo>
                  <a:cubicBezTo>
                    <a:pt x="987" y="2488"/>
                    <a:pt x="988" y="2494"/>
                    <a:pt x="989" y="2501"/>
                  </a:cubicBezTo>
                  <a:cubicBezTo>
                    <a:pt x="994" y="2502"/>
                    <a:pt x="998" y="2504"/>
                    <a:pt x="1003" y="2505"/>
                  </a:cubicBezTo>
                  <a:cubicBezTo>
                    <a:pt x="1007" y="2506"/>
                    <a:pt x="1011" y="2507"/>
                    <a:pt x="1014" y="2508"/>
                  </a:cubicBezTo>
                  <a:cubicBezTo>
                    <a:pt x="1019" y="2509"/>
                    <a:pt x="1024" y="2510"/>
                    <a:pt x="1029" y="2512"/>
                  </a:cubicBezTo>
                  <a:cubicBezTo>
                    <a:pt x="1036" y="2513"/>
                    <a:pt x="1043" y="2514"/>
                    <a:pt x="1051" y="2516"/>
                  </a:cubicBezTo>
                  <a:cubicBezTo>
                    <a:pt x="1059" y="2517"/>
                    <a:pt x="1067" y="2518"/>
                    <a:pt x="1076" y="2519"/>
                  </a:cubicBezTo>
                  <a:cubicBezTo>
                    <a:pt x="1084" y="2520"/>
                    <a:pt x="1092" y="2521"/>
                    <a:pt x="1101" y="2522"/>
                  </a:cubicBezTo>
                  <a:cubicBezTo>
                    <a:pt x="1114" y="2524"/>
                    <a:pt x="1127" y="2525"/>
                    <a:pt x="1140" y="2527"/>
                  </a:cubicBezTo>
                  <a:cubicBezTo>
                    <a:pt x="1141" y="2525"/>
                    <a:pt x="1141" y="2524"/>
                    <a:pt x="1142" y="2522"/>
                  </a:cubicBezTo>
                  <a:cubicBezTo>
                    <a:pt x="1167" y="2475"/>
                    <a:pt x="1181" y="2424"/>
                    <a:pt x="1199" y="2373"/>
                  </a:cubicBezTo>
                  <a:cubicBezTo>
                    <a:pt x="1204" y="2359"/>
                    <a:pt x="1209" y="2345"/>
                    <a:pt x="1215" y="2331"/>
                  </a:cubicBezTo>
                  <a:cubicBezTo>
                    <a:pt x="1230" y="2330"/>
                    <a:pt x="1245" y="2328"/>
                    <a:pt x="1260" y="2328"/>
                  </a:cubicBezTo>
                  <a:cubicBezTo>
                    <a:pt x="1272" y="2328"/>
                    <a:pt x="1285" y="2329"/>
                    <a:pt x="1298" y="2329"/>
                  </a:cubicBezTo>
                  <a:cubicBezTo>
                    <a:pt x="1301" y="2329"/>
                    <a:pt x="1305" y="2330"/>
                    <a:pt x="1308" y="2330"/>
                  </a:cubicBezTo>
                  <a:cubicBezTo>
                    <a:pt x="1336" y="2391"/>
                    <a:pt x="1349" y="2457"/>
                    <a:pt x="1380" y="2518"/>
                  </a:cubicBezTo>
                  <a:cubicBezTo>
                    <a:pt x="1381" y="2520"/>
                    <a:pt x="1382" y="2523"/>
                    <a:pt x="1383" y="2525"/>
                  </a:cubicBezTo>
                  <a:cubicBezTo>
                    <a:pt x="1395" y="2525"/>
                    <a:pt x="1406" y="2524"/>
                    <a:pt x="1417" y="2523"/>
                  </a:cubicBezTo>
                  <a:cubicBezTo>
                    <a:pt x="1456" y="2520"/>
                    <a:pt x="1494" y="2512"/>
                    <a:pt x="1534" y="2503"/>
                  </a:cubicBezTo>
                  <a:cubicBezTo>
                    <a:pt x="1544" y="2470"/>
                    <a:pt x="1544" y="2435"/>
                    <a:pt x="1544" y="2401"/>
                  </a:cubicBezTo>
                  <a:cubicBezTo>
                    <a:pt x="1545" y="2394"/>
                    <a:pt x="1545" y="2387"/>
                    <a:pt x="1545" y="2381"/>
                  </a:cubicBezTo>
                  <a:cubicBezTo>
                    <a:pt x="1545" y="2358"/>
                    <a:pt x="1545" y="2335"/>
                    <a:pt x="1545" y="2312"/>
                  </a:cubicBezTo>
                  <a:lnTo>
                    <a:pt x="1545" y="2296"/>
                  </a:lnTo>
                  <a:cubicBezTo>
                    <a:pt x="1572" y="2277"/>
                    <a:pt x="1603" y="2273"/>
                    <a:pt x="1634" y="2263"/>
                  </a:cubicBezTo>
                  <a:cubicBezTo>
                    <a:pt x="1660" y="2286"/>
                    <a:pt x="1676" y="2317"/>
                    <a:pt x="1698" y="2343"/>
                  </a:cubicBezTo>
                  <a:lnTo>
                    <a:pt x="1700" y="2346"/>
                  </a:lnTo>
                  <a:cubicBezTo>
                    <a:pt x="1721" y="2372"/>
                    <a:pt x="1742" y="2398"/>
                    <a:pt x="1762" y="2423"/>
                  </a:cubicBezTo>
                  <a:cubicBezTo>
                    <a:pt x="1765" y="2422"/>
                    <a:pt x="1769" y="2421"/>
                    <a:pt x="1773" y="2420"/>
                  </a:cubicBezTo>
                  <a:cubicBezTo>
                    <a:pt x="1801" y="2414"/>
                    <a:pt x="1833" y="2400"/>
                    <a:pt x="1866" y="2380"/>
                  </a:cubicBezTo>
                  <a:cubicBezTo>
                    <a:pt x="1879" y="2372"/>
                    <a:pt x="1892" y="2364"/>
                    <a:pt x="1905" y="2355"/>
                  </a:cubicBezTo>
                  <a:cubicBezTo>
                    <a:pt x="1904" y="2350"/>
                    <a:pt x="1903" y="2344"/>
                    <a:pt x="1902" y="2339"/>
                  </a:cubicBezTo>
                  <a:cubicBezTo>
                    <a:pt x="1900" y="2324"/>
                    <a:pt x="1896" y="2309"/>
                    <a:pt x="1892" y="2294"/>
                  </a:cubicBezTo>
                  <a:lnTo>
                    <a:pt x="1892" y="2294"/>
                  </a:lnTo>
                  <a:cubicBezTo>
                    <a:pt x="1892" y="2293"/>
                    <a:pt x="1892" y="2291"/>
                    <a:pt x="1891" y="2290"/>
                  </a:cubicBezTo>
                  <a:cubicBezTo>
                    <a:pt x="1890" y="2286"/>
                    <a:pt x="1889" y="2281"/>
                    <a:pt x="1888" y="2277"/>
                  </a:cubicBezTo>
                  <a:cubicBezTo>
                    <a:pt x="1883" y="2260"/>
                    <a:pt x="1877" y="2243"/>
                    <a:pt x="1872" y="2226"/>
                  </a:cubicBezTo>
                  <a:cubicBezTo>
                    <a:pt x="1868" y="2215"/>
                    <a:pt x="1865" y="2205"/>
                    <a:pt x="1862" y="2194"/>
                  </a:cubicBezTo>
                  <a:cubicBezTo>
                    <a:pt x="1858" y="2182"/>
                    <a:pt x="1854" y="2169"/>
                    <a:pt x="1851" y="2156"/>
                  </a:cubicBezTo>
                  <a:cubicBezTo>
                    <a:pt x="1871" y="2132"/>
                    <a:pt x="1899" y="2118"/>
                    <a:pt x="1926" y="2097"/>
                  </a:cubicBezTo>
                  <a:lnTo>
                    <a:pt x="1947" y="2112"/>
                  </a:lnTo>
                  <a:cubicBezTo>
                    <a:pt x="1954" y="2117"/>
                    <a:pt x="1961" y="2122"/>
                    <a:pt x="1968" y="2127"/>
                  </a:cubicBezTo>
                  <a:cubicBezTo>
                    <a:pt x="1983" y="2137"/>
                    <a:pt x="1997" y="2146"/>
                    <a:pt x="2011" y="2156"/>
                  </a:cubicBezTo>
                  <a:cubicBezTo>
                    <a:pt x="2039" y="2175"/>
                    <a:pt x="2068" y="2194"/>
                    <a:pt x="2096" y="2212"/>
                  </a:cubicBezTo>
                  <a:cubicBezTo>
                    <a:pt x="2103" y="2208"/>
                    <a:pt x="2110" y="2204"/>
                    <a:pt x="2117" y="2199"/>
                  </a:cubicBezTo>
                  <a:cubicBezTo>
                    <a:pt x="2120" y="2196"/>
                    <a:pt x="2123" y="2194"/>
                    <a:pt x="2127" y="2191"/>
                  </a:cubicBezTo>
                  <a:cubicBezTo>
                    <a:pt x="2130" y="2188"/>
                    <a:pt x="2134" y="2186"/>
                    <a:pt x="2137" y="2182"/>
                  </a:cubicBezTo>
                  <a:cubicBezTo>
                    <a:pt x="2140" y="2180"/>
                    <a:pt x="2143" y="2177"/>
                    <a:pt x="2146" y="2175"/>
                  </a:cubicBezTo>
                  <a:lnTo>
                    <a:pt x="2149" y="2172"/>
                  </a:lnTo>
                  <a:cubicBezTo>
                    <a:pt x="2152" y="2169"/>
                    <a:pt x="2154" y="2167"/>
                    <a:pt x="2157" y="2164"/>
                  </a:cubicBezTo>
                  <a:cubicBezTo>
                    <a:pt x="2165" y="2156"/>
                    <a:pt x="2172" y="2148"/>
                    <a:pt x="2180" y="2140"/>
                  </a:cubicBezTo>
                  <a:cubicBezTo>
                    <a:pt x="2184" y="2135"/>
                    <a:pt x="2189" y="2130"/>
                    <a:pt x="2193" y="2125"/>
                  </a:cubicBezTo>
                  <a:lnTo>
                    <a:pt x="2197" y="2120"/>
                  </a:lnTo>
                  <a:cubicBezTo>
                    <a:pt x="2202" y="2114"/>
                    <a:pt x="2206" y="2108"/>
                    <a:pt x="2211" y="2102"/>
                  </a:cubicBezTo>
                  <a:cubicBezTo>
                    <a:pt x="2207" y="2094"/>
                    <a:pt x="2203" y="2087"/>
                    <a:pt x="2199" y="2080"/>
                  </a:cubicBezTo>
                  <a:cubicBezTo>
                    <a:pt x="2190" y="2065"/>
                    <a:pt x="2181" y="2051"/>
                    <a:pt x="2172" y="2037"/>
                  </a:cubicBezTo>
                  <a:cubicBezTo>
                    <a:pt x="2171" y="2035"/>
                    <a:pt x="2170" y="2033"/>
                    <a:pt x="2169" y="2032"/>
                  </a:cubicBezTo>
                  <a:cubicBezTo>
                    <a:pt x="2165" y="2026"/>
                    <a:pt x="2161" y="2021"/>
                    <a:pt x="2157" y="2015"/>
                  </a:cubicBezTo>
                  <a:cubicBezTo>
                    <a:pt x="2152" y="2007"/>
                    <a:pt x="2146" y="1999"/>
                    <a:pt x="2140" y="1991"/>
                  </a:cubicBezTo>
                  <a:cubicBezTo>
                    <a:pt x="2133" y="1981"/>
                    <a:pt x="2125" y="1971"/>
                    <a:pt x="2118" y="1961"/>
                  </a:cubicBezTo>
                  <a:cubicBezTo>
                    <a:pt x="2112" y="1951"/>
                    <a:pt x="2105" y="1942"/>
                    <a:pt x="2099" y="1933"/>
                  </a:cubicBezTo>
                  <a:lnTo>
                    <a:pt x="2097" y="1930"/>
                  </a:lnTo>
                  <a:cubicBezTo>
                    <a:pt x="2111" y="1902"/>
                    <a:pt x="2130" y="1878"/>
                    <a:pt x="2152" y="1853"/>
                  </a:cubicBezTo>
                  <a:cubicBezTo>
                    <a:pt x="2219" y="1868"/>
                    <a:pt x="2283" y="1896"/>
                    <a:pt x="2352" y="1907"/>
                  </a:cubicBezTo>
                  <a:cubicBezTo>
                    <a:pt x="2364" y="1893"/>
                    <a:pt x="2374" y="1877"/>
                    <a:pt x="2383" y="1861"/>
                  </a:cubicBezTo>
                  <a:cubicBezTo>
                    <a:pt x="2399" y="1832"/>
                    <a:pt x="2412" y="1801"/>
                    <a:pt x="2425" y="1770"/>
                  </a:cubicBezTo>
                  <a:cubicBezTo>
                    <a:pt x="2376" y="1719"/>
                    <a:pt x="2316" y="1683"/>
                    <a:pt x="2263" y="1639"/>
                  </a:cubicBezTo>
                  <a:cubicBezTo>
                    <a:pt x="2266" y="1612"/>
                    <a:pt x="2275" y="1588"/>
                    <a:pt x="2285" y="1563"/>
                  </a:cubicBezTo>
                  <a:cubicBezTo>
                    <a:pt x="2287" y="1559"/>
                    <a:pt x="2289" y="1554"/>
                    <a:pt x="2291" y="1549"/>
                  </a:cubicBezTo>
                  <a:cubicBezTo>
                    <a:pt x="2358" y="1541"/>
                    <a:pt x="2425" y="1549"/>
                    <a:pt x="2493" y="1539"/>
                  </a:cubicBezTo>
                  <a:cubicBezTo>
                    <a:pt x="2496" y="1538"/>
                    <a:pt x="2498" y="1538"/>
                    <a:pt x="2500" y="1538"/>
                  </a:cubicBezTo>
                  <a:cubicBezTo>
                    <a:pt x="2502" y="1532"/>
                    <a:pt x="2503" y="1526"/>
                    <a:pt x="2505" y="1519"/>
                  </a:cubicBezTo>
                  <a:cubicBezTo>
                    <a:pt x="2511" y="1491"/>
                    <a:pt x="2518" y="1462"/>
                    <a:pt x="2520" y="1433"/>
                  </a:cubicBezTo>
                  <a:cubicBezTo>
                    <a:pt x="2522" y="1416"/>
                    <a:pt x="2523" y="1400"/>
                    <a:pt x="2522" y="1383"/>
                  </a:cubicBez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48">
              <a:extLst>
                <a:ext uri="{FF2B5EF4-FFF2-40B4-BE49-F238E27FC236}">
                  <a16:creationId xmlns:a16="http://schemas.microsoft.com/office/drawing/2014/main" id="{FE3E1189-D611-DA15-02C6-67010C70C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64213" y="2466975"/>
              <a:ext cx="455613" cy="388938"/>
            </a:xfrm>
            <a:custGeom>
              <a:avLst/>
              <a:gdLst>
                <a:gd name="T0" fmla="*/ 0 w 1008"/>
                <a:gd name="T1" fmla="*/ 570 h 851"/>
                <a:gd name="T2" fmla="*/ 718 w 1008"/>
                <a:gd name="T3" fmla="*/ 0 h 851"/>
                <a:gd name="T4" fmla="*/ 1008 w 1008"/>
                <a:gd name="T5" fmla="*/ 289 h 851"/>
                <a:gd name="T6" fmla="*/ 977 w 1008"/>
                <a:gd name="T7" fmla="*/ 335 h 851"/>
                <a:gd name="T8" fmla="*/ 777 w 1008"/>
                <a:gd name="T9" fmla="*/ 281 h 851"/>
                <a:gd name="T10" fmla="*/ 722 w 1008"/>
                <a:gd name="T11" fmla="*/ 357 h 851"/>
                <a:gd name="T12" fmla="*/ 836 w 1008"/>
                <a:gd name="T13" fmla="*/ 530 h 851"/>
                <a:gd name="T14" fmla="*/ 721 w 1008"/>
                <a:gd name="T15" fmla="*/ 640 h 851"/>
                <a:gd name="T16" fmla="*/ 636 w 1008"/>
                <a:gd name="T17" fmla="*/ 584 h 851"/>
                <a:gd name="T18" fmla="*/ 551 w 1008"/>
                <a:gd name="T19" fmla="*/ 525 h 851"/>
                <a:gd name="T20" fmla="*/ 476 w 1008"/>
                <a:gd name="T21" fmla="*/ 584 h 851"/>
                <a:gd name="T22" fmla="*/ 530 w 1008"/>
                <a:gd name="T23" fmla="*/ 783 h 851"/>
                <a:gd name="T24" fmla="*/ 387 w 1008"/>
                <a:gd name="T25" fmla="*/ 851 h 851"/>
                <a:gd name="T26" fmla="*/ 323 w 1008"/>
                <a:gd name="T27" fmla="*/ 771 h 851"/>
                <a:gd name="T28" fmla="*/ 259 w 1008"/>
                <a:gd name="T29" fmla="*/ 691 h 851"/>
                <a:gd name="T30" fmla="*/ 170 w 1008"/>
                <a:gd name="T31" fmla="*/ 724 h 851"/>
                <a:gd name="T32" fmla="*/ 170 w 1008"/>
                <a:gd name="T33" fmla="*/ 740 h 851"/>
                <a:gd name="T34" fmla="*/ 0 w 1008"/>
                <a:gd name="T35" fmla="*/ 57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8" h="851">
                  <a:moveTo>
                    <a:pt x="0" y="570"/>
                  </a:moveTo>
                  <a:cubicBezTo>
                    <a:pt x="329" y="529"/>
                    <a:pt x="605" y="305"/>
                    <a:pt x="718" y="0"/>
                  </a:cubicBezTo>
                  <a:lnTo>
                    <a:pt x="1008" y="289"/>
                  </a:lnTo>
                  <a:cubicBezTo>
                    <a:pt x="999" y="305"/>
                    <a:pt x="989" y="320"/>
                    <a:pt x="977" y="335"/>
                  </a:cubicBezTo>
                  <a:cubicBezTo>
                    <a:pt x="908" y="324"/>
                    <a:pt x="844" y="296"/>
                    <a:pt x="777" y="281"/>
                  </a:cubicBezTo>
                  <a:cubicBezTo>
                    <a:pt x="755" y="306"/>
                    <a:pt x="736" y="330"/>
                    <a:pt x="722" y="357"/>
                  </a:cubicBezTo>
                  <a:cubicBezTo>
                    <a:pt x="761" y="417"/>
                    <a:pt x="806" y="469"/>
                    <a:pt x="836" y="530"/>
                  </a:cubicBezTo>
                  <a:cubicBezTo>
                    <a:pt x="799" y="579"/>
                    <a:pt x="757" y="620"/>
                    <a:pt x="721" y="640"/>
                  </a:cubicBezTo>
                  <a:cubicBezTo>
                    <a:pt x="693" y="622"/>
                    <a:pt x="664" y="603"/>
                    <a:pt x="636" y="584"/>
                  </a:cubicBezTo>
                  <a:cubicBezTo>
                    <a:pt x="607" y="565"/>
                    <a:pt x="580" y="545"/>
                    <a:pt x="551" y="525"/>
                  </a:cubicBezTo>
                  <a:cubicBezTo>
                    <a:pt x="524" y="546"/>
                    <a:pt x="496" y="560"/>
                    <a:pt x="476" y="584"/>
                  </a:cubicBezTo>
                  <a:cubicBezTo>
                    <a:pt x="494" y="652"/>
                    <a:pt x="521" y="716"/>
                    <a:pt x="530" y="783"/>
                  </a:cubicBezTo>
                  <a:cubicBezTo>
                    <a:pt x="477" y="820"/>
                    <a:pt x="428" y="844"/>
                    <a:pt x="387" y="851"/>
                  </a:cubicBezTo>
                  <a:cubicBezTo>
                    <a:pt x="366" y="825"/>
                    <a:pt x="345" y="798"/>
                    <a:pt x="323" y="771"/>
                  </a:cubicBezTo>
                  <a:cubicBezTo>
                    <a:pt x="301" y="745"/>
                    <a:pt x="285" y="714"/>
                    <a:pt x="259" y="691"/>
                  </a:cubicBezTo>
                  <a:cubicBezTo>
                    <a:pt x="228" y="701"/>
                    <a:pt x="197" y="705"/>
                    <a:pt x="170" y="724"/>
                  </a:cubicBezTo>
                  <a:cubicBezTo>
                    <a:pt x="170" y="729"/>
                    <a:pt x="170" y="735"/>
                    <a:pt x="170" y="740"/>
                  </a:cubicBezTo>
                  <a:lnTo>
                    <a:pt x="0" y="570"/>
                  </a:ln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9">
              <a:extLst>
                <a:ext uri="{FF2B5EF4-FFF2-40B4-BE49-F238E27FC236}">
                  <a16:creationId xmlns:a16="http://schemas.microsoft.com/office/drawing/2014/main" id="{05B925D3-1264-6E02-D775-B50EA9DA8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40475" y="1814512"/>
              <a:ext cx="385763" cy="460375"/>
            </a:xfrm>
            <a:custGeom>
              <a:avLst/>
              <a:gdLst>
                <a:gd name="T0" fmla="*/ 152 w 855"/>
                <a:gd name="T1" fmla="*/ 787 h 1007"/>
                <a:gd name="T2" fmla="*/ 164 w 855"/>
                <a:gd name="T3" fmla="*/ 747 h 1007"/>
                <a:gd name="T4" fmla="*/ 0 w 855"/>
                <a:gd name="T5" fmla="*/ 613 h 1007"/>
                <a:gd name="T6" fmla="*/ 72 w 855"/>
                <a:gd name="T7" fmla="*/ 477 h 1007"/>
                <a:gd name="T8" fmla="*/ 273 w 855"/>
                <a:gd name="T9" fmla="*/ 531 h 1007"/>
                <a:gd name="T10" fmla="*/ 329 w 855"/>
                <a:gd name="T11" fmla="*/ 454 h 1007"/>
                <a:gd name="T12" fmla="*/ 214 w 855"/>
                <a:gd name="T13" fmla="*/ 283 h 1007"/>
                <a:gd name="T14" fmla="*/ 330 w 855"/>
                <a:gd name="T15" fmla="*/ 172 h 1007"/>
                <a:gd name="T16" fmla="*/ 500 w 855"/>
                <a:gd name="T17" fmla="*/ 286 h 1007"/>
                <a:gd name="T18" fmla="*/ 575 w 855"/>
                <a:gd name="T19" fmla="*/ 229 h 1007"/>
                <a:gd name="T20" fmla="*/ 521 w 855"/>
                <a:gd name="T21" fmla="*/ 30 h 1007"/>
                <a:gd name="T22" fmla="*/ 566 w 855"/>
                <a:gd name="T23" fmla="*/ 0 h 1007"/>
                <a:gd name="T24" fmla="*/ 855 w 855"/>
                <a:gd name="T25" fmla="*/ 290 h 1007"/>
                <a:gd name="T26" fmla="*/ 284 w 855"/>
                <a:gd name="T27" fmla="*/ 1007 h 1007"/>
                <a:gd name="T28" fmla="*/ 115 w 855"/>
                <a:gd name="T29" fmla="*/ 838 h 1007"/>
                <a:gd name="T30" fmla="*/ 135 w 855"/>
                <a:gd name="T31" fmla="*/ 836 h 1007"/>
                <a:gd name="T32" fmla="*/ 152 w 855"/>
                <a:gd name="T33" fmla="*/ 787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5" h="1007">
                  <a:moveTo>
                    <a:pt x="152" y="787"/>
                  </a:moveTo>
                  <a:cubicBezTo>
                    <a:pt x="156" y="775"/>
                    <a:pt x="160" y="761"/>
                    <a:pt x="164" y="747"/>
                  </a:cubicBezTo>
                  <a:cubicBezTo>
                    <a:pt x="111" y="701"/>
                    <a:pt x="50" y="666"/>
                    <a:pt x="0" y="613"/>
                  </a:cubicBezTo>
                  <a:cubicBezTo>
                    <a:pt x="21" y="566"/>
                    <a:pt x="41" y="519"/>
                    <a:pt x="72" y="477"/>
                  </a:cubicBezTo>
                  <a:cubicBezTo>
                    <a:pt x="143" y="488"/>
                    <a:pt x="206" y="517"/>
                    <a:pt x="273" y="531"/>
                  </a:cubicBezTo>
                  <a:cubicBezTo>
                    <a:pt x="295" y="506"/>
                    <a:pt x="314" y="482"/>
                    <a:pt x="329" y="454"/>
                  </a:cubicBezTo>
                  <a:cubicBezTo>
                    <a:pt x="289" y="396"/>
                    <a:pt x="246" y="342"/>
                    <a:pt x="214" y="283"/>
                  </a:cubicBezTo>
                  <a:cubicBezTo>
                    <a:pt x="253" y="231"/>
                    <a:pt x="292" y="193"/>
                    <a:pt x="330" y="172"/>
                  </a:cubicBezTo>
                  <a:cubicBezTo>
                    <a:pt x="385" y="209"/>
                    <a:pt x="442" y="247"/>
                    <a:pt x="500" y="286"/>
                  </a:cubicBezTo>
                  <a:cubicBezTo>
                    <a:pt x="526" y="267"/>
                    <a:pt x="554" y="252"/>
                    <a:pt x="575" y="229"/>
                  </a:cubicBezTo>
                  <a:cubicBezTo>
                    <a:pt x="558" y="161"/>
                    <a:pt x="529" y="97"/>
                    <a:pt x="521" y="30"/>
                  </a:cubicBezTo>
                  <a:cubicBezTo>
                    <a:pt x="536" y="19"/>
                    <a:pt x="551" y="9"/>
                    <a:pt x="566" y="0"/>
                  </a:cubicBezTo>
                  <a:lnTo>
                    <a:pt x="855" y="290"/>
                  </a:lnTo>
                  <a:cubicBezTo>
                    <a:pt x="561" y="400"/>
                    <a:pt x="327" y="664"/>
                    <a:pt x="284" y="1007"/>
                  </a:cubicBezTo>
                  <a:lnTo>
                    <a:pt x="115" y="838"/>
                  </a:lnTo>
                  <a:cubicBezTo>
                    <a:pt x="121" y="837"/>
                    <a:pt x="128" y="837"/>
                    <a:pt x="135" y="836"/>
                  </a:cubicBezTo>
                  <a:cubicBezTo>
                    <a:pt x="141" y="820"/>
                    <a:pt x="147" y="804"/>
                    <a:pt x="152" y="787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50">
              <a:extLst>
                <a:ext uri="{FF2B5EF4-FFF2-40B4-BE49-F238E27FC236}">
                  <a16:creationId xmlns:a16="http://schemas.microsoft.com/office/drawing/2014/main" id="{38B5768D-923A-DB16-1161-3D613A0B3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53013" y="2767012"/>
              <a:ext cx="144463" cy="92075"/>
            </a:xfrm>
            <a:custGeom>
              <a:avLst/>
              <a:gdLst>
                <a:gd name="T0" fmla="*/ 318 w 318"/>
                <a:gd name="T1" fmla="*/ 202 h 202"/>
                <a:gd name="T2" fmla="*/ 197 w 318"/>
                <a:gd name="T3" fmla="*/ 170 h 202"/>
                <a:gd name="T4" fmla="*/ 207 w 318"/>
                <a:gd name="T5" fmla="*/ 163 h 202"/>
                <a:gd name="T6" fmla="*/ 207 w 318"/>
                <a:gd name="T7" fmla="*/ 163 h 202"/>
                <a:gd name="T8" fmla="*/ 207 w 318"/>
                <a:gd name="T9" fmla="*/ 163 h 202"/>
                <a:gd name="T10" fmla="*/ 193 w 318"/>
                <a:gd name="T11" fmla="*/ 116 h 202"/>
                <a:gd name="T12" fmla="*/ 193 w 318"/>
                <a:gd name="T13" fmla="*/ 116 h 202"/>
                <a:gd name="T14" fmla="*/ 187 w 318"/>
                <a:gd name="T15" fmla="*/ 103 h 202"/>
                <a:gd name="T16" fmla="*/ 178 w 318"/>
                <a:gd name="T17" fmla="*/ 103 h 202"/>
                <a:gd name="T18" fmla="*/ 130 w 318"/>
                <a:gd name="T19" fmla="*/ 106 h 202"/>
                <a:gd name="T20" fmla="*/ 127 w 318"/>
                <a:gd name="T21" fmla="*/ 106 h 202"/>
                <a:gd name="T22" fmla="*/ 87 w 318"/>
                <a:gd name="T23" fmla="*/ 107 h 202"/>
                <a:gd name="T24" fmla="*/ 71 w 318"/>
                <a:gd name="T25" fmla="*/ 107 h 202"/>
                <a:gd name="T26" fmla="*/ 68 w 318"/>
                <a:gd name="T27" fmla="*/ 106 h 202"/>
                <a:gd name="T28" fmla="*/ 55 w 318"/>
                <a:gd name="T29" fmla="*/ 107 h 202"/>
                <a:gd name="T30" fmla="*/ 41 w 318"/>
                <a:gd name="T31" fmla="*/ 107 h 202"/>
                <a:gd name="T32" fmla="*/ 16 w 318"/>
                <a:gd name="T33" fmla="*/ 104 h 202"/>
                <a:gd name="T34" fmla="*/ 0 w 318"/>
                <a:gd name="T35" fmla="*/ 5 h 202"/>
                <a:gd name="T36" fmla="*/ 0 w 318"/>
                <a:gd name="T37" fmla="*/ 0 h 202"/>
                <a:gd name="T38" fmla="*/ 268 w 318"/>
                <a:gd name="T39" fmla="*/ 72 h 202"/>
                <a:gd name="T40" fmla="*/ 268 w 318"/>
                <a:gd name="T41" fmla="*/ 73 h 202"/>
                <a:gd name="T42" fmla="*/ 268 w 318"/>
                <a:gd name="T43" fmla="*/ 73 h 202"/>
                <a:gd name="T44" fmla="*/ 280 w 318"/>
                <a:gd name="T45" fmla="*/ 112 h 202"/>
                <a:gd name="T46" fmla="*/ 280 w 318"/>
                <a:gd name="T47" fmla="*/ 113 h 202"/>
                <a:gd name="T48" fmla="*/ 318 w 318"/>
                <a:gd name="T4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8" h="202">
                  <a:moveTo>
                    <a:pt x="318" y="202"/>
                  </a:moveTo>
                  <a:cubicBezTo>
                    <a:pt x="279" y="191"/>
                    <a:pt x="239" y="181"/>
                    <a:pt x="197" y="170"/>
                  </a:cubicBezTo>
                  <a:cubicBezTo>
                    <a:pt x="201" y="168"/>
                    <a:pt x="204" y="165"/>
                    <a:pt x="207" y="163"/>
                  </a:cubicBezTo>
                  <a:lnTo>
                    <a:pt x="207" y="163"/>
                  </a:lnTo>
                  <a:lnTo>
                    <a:pt x="207" y="163"/>
                  </a:lnTo>
                  <a:cubicBezTo>
                    <a:pt x="203" y="147"/>
                    <a:pt x="199" y="131"/>
                    <a:pt x="193" y="116"/>
                  </a:cubicBezTo>
                  <a:lnTo>
                    <a:pt x="193" y="116"/>
                  </a:lnTo>
                  <a:cubicBezTo>
                    <a:pt x="191" y="112"/>
                    <a:pt x="189" y="107"/>
                    <a:pt x="187" y="103"/>
                  </a:cubicBezTo>
                  <a:lnTo>
                    <a:pt x="178" y="103"/>
                  </a:lnTo>
                  <a:cubicBezTo>
                    <a:pt x="162" y="104"/>
                    <a:pt x="146" y="105"/>
                    <a:pt x="130" y="106"/>
                  </a:cubicBezTo>
                  <a:lnTo>
                    <a:pt x="127" y="106"/>
                  </a:lnTo>
                  <a:cubicBezTo>
                    <a:pt x="114" y="106"/>
                    <a:pt x="101" y="107"/>
                    <a:pt x="87" y="107"/>
                  </a:cubicBezTo>
                  <a:cubicBezTo>
                    <a:pt x="82" y="107"/>
                    <a:pt x="76" y="107"/>
                    <a:pt x="71" y="107"/>
                  </a:cubicBezTo>
                  <a:cubicBezTo>
                    <a:pt x="70" y="106"/>
                    <a:pt x="69" y="106"/>
                    <a:pt x="68" y="106"/>
                  </a:cubicBezTo>
                  <a:cubicBezTo>
                    <a:pt x="64" y="106"/>
                    <a:pt x="59" y="107"/>
                    <a:pt x="55" y="107"/>
                  </a:cubicBezTo>
                  <a:cubicBezTo>
                    <a:pt x="50" y="107"/>
                    <a:pt x="46" y="107"/>
                    <a:pt x="41" y="107"/>
                  </a:cubicBezTo>
                  <a:cubicBezTo>
                    <a:pt x="33" y="107"/>
                    <a:pt x="24" y="107"/>
                    <a:pt x="16" y="104"/>
                  </a:cubicBezTo>
                  <a:cubicBezTo>
                    <a:pt x="6" y="70"/>
                    <a:pt x="0" y="34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  <a:cubicBezTo>
                    <a:pt x="95" y="25"/>
                    <a:pt x="185" y="50"/>
                    <a:pt x="268" y="72"/>
                  </a:cubicBezTo>
                  <a:cubicBezTo>
                    <a:pt x="268" y="72"/>
                    <a:pt x="268" y="72"/>
                    <a:pt x="268" y="73"/>
                  </a:cubicBezTo>
                  <a:lnTo>
                    <a:pt x="268" y="73"/>
                  </a:lnTo>
                  <a:cubicBezTo>
                    <a:pt x="272" y="87"/>
                    <a:pt x="276" y="100"/>
                    <a:pt x="280" y="112"/>
                  </a:cubicBezTo>
                  <a:lnTo>
                    <a:pt x="280" y="113"/>
                  </a:lnTo>
                  <a:cubicBezTo>
                    <a:pt x="290" y="144"/>
                    <a:pt x="303" y="173"/>
                    <a:pt x="318" y="202"/>
                  </a:cubicBezTo>
                </a:path>
              </a:pathLst>
            </a:custGeom>
            <a:solidFill>
              <a:srgbClr val="76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51">
              <a:extLst>
                <a:ext uri="{FF2B5EF4-FFF2-40B4-BE49-F238E27FC236}">
                  <a16:creationId xmlns:a16="http://schemas.microsoft.com/office/drawing/2014/main" id="{69A8BB01-A230-3D39-B936-C12BC3098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1738" y="2527300"/>
              <a:ext cx="133350" cy="65088"/>
            </a:xfrm>
            <a:custGeom>
              <a:avLst/>
              <a:gdLst>
                <a:gd name="T0" fmla="*/ 234 w 295"/>
                <a:gd name="T1" fmla="*/ 143 h 143"/>
                <a:gd name="T2" fmla="*/ 195 w 295"/>
                <a:gd name="T3" fmla="*/ 127 h 143"/>
                <a:gd name="T4" fmla="*/ 0 w 295"/>
                <a:gd name="T5" fmla="*/ 43 h 143"/>
                <a:gd name="T6" fmla="*/ 29 w 295"/>
                <a:gd name="T7" fmla="*/ 0 h 143"/>
                <a:gd name="T8" fmla="*/ 188 w 295"/>
                <a:gd name="T9" fmla="*/ 56 h 143"/>
                <a:gd name="T10" fmla="*/ 216 w 295"/>
                <a:gd name="T11" fmla="*/ 19 h 143"/>
                <a:gd name="T12" fmla="*/ 295 w 295"/>
                <a:gd name="T13" fmla="*/ 53 h 143"/>
                <a:gd name="T14" fmla="*/ 236 w 295"/>
                <a:gd name="T15" fmla="*/ 140 h 143"/>
                <a:gd name="T16" fmla="*/ 236 w 295"/>
                <a:gd name="T17" fmla="*/ 139 h 143"/>
                <a:gd name="T18" fmla="*/ 234 w 29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5" h="143">
                  <a:moveTo>
                    <a:pt x="234" y="143"/>
                  </a:moveTo>
                  <a:cubicBezTo>
                    <a:pt x="221" y="138"/>
                    <a:pt x="208" y="132"/>
                    <a:pt x="195" y="127"/>
                  </a:cubicBezTo>
                  <a:cubicBezTo>
                    <a:pt x="132" y="100"/>
                    <a:pt x="67" y="72"/>
                    <a:pt x="0" y="43"/>
                  </a:cubicBezTo>
                  <a:cubicBezTo>
                    <a:pt x="9" y="25"/>
                    <a:pt x="20" y="10"/>
                    <a:pt x="29" y="0"/>
                  </a:cubicBezTo>
                  <a:cubicBezTo>
                    <a:pt x="81" y="19"/>
                    <a:pt x="134" y="37"/>
                    <a:pt x="188" y="56"/>
                  </a:cubicBezTo>
                  <a:cubicBezTo>
                    <a:pt x="198" y="44"/>
                    <a:pt x="207" y="32"/>
                    <a:pt x="216" y="19"/>
                  </a:cubicBezTo>
                  <a:cubicBezTo>
                    <a:pt x="243" y="30"/>
                    <a:pt x="269" y="42"/>
                    <a:pt x="295" y="53"/>
                  </a:cubicBezTo>
                  <a:cubicBezTo>
                    <a:pt x="273" y="80"/>
                    <a:pt x="253" y="109"/>
                    <a:pt x="236" y="140"/>
                  </a:cubicBezTo>
                  <a:lnTo>
                    <a:pt x="236" y="139"/>
                  </a:lnTo>
                  <a:lnTo>
                    <a:pt x="234" y="143"/>
                  </a:lnTo>
                </a:path>
              </a:pathLst>
            </a:custGeom>
            <a:solidFill>
              <a:srgbClr val="76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52">
              <a:extLst>
                <a:ext uri="{FF2B5EF4-FFF2-40B4-BE49-F238E27FC236}">
                  <a16:creationId xmlns:a16="http://schemas.microsoft.com/office/drawing/2014/main" id="{681026B1-4B65-EA53-79A4-205A48CA3B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887913" y="2566987"/>
              <a:ext cx="366713" cy="355600"/>
            </a:xfrm>
            <a:custGeom>
              <a:avLst/>
              <a:gdLst>
                <a:gd name="T0" fmla="*/ 501 w 811"/>
                <a:gd name="T1" fmla="*/ 777 h 777"/>
                <a:gd name="T2" fmla="*/ 455 w 811"/>
                <a:gd name="T3" fmla="*/ 773 h 777"/>
                <a:gd name="T4" fmla="*/ 420 w 811"/>
                <a:gd name="T5" fmla="*/ 766 h 777"/>
                <a:gd name="T6" fmla="*/ 323 w 811"/>
                <a:gd name="T7" fmla="*/ 739 h 777"/>
                <a:gd name="T8" fmla="*/ 235 w 811"/>
                <a:gd name="T9" fmla="*/ 715 h 777"/>
                <a:gd name="T10" fmla="*/ 74 w 811"/>
                <a:gd name="T11" fmla="*/ 672 h 777"/>
                <a:gd name="T12" fmla="*/ 47 w 811"/>
                <a:gd name="T13" fmla="*/ 632 h 777"/>
                <a:gd name="T14" fmla="*/ 47 w 811"/>
                <a:gd name="T15" fmla="*/ 632 h 777"/>
                <a:gd name="T16" fmla="*/ 0 w 811"/>
                <a:gd name="T17" fmla="*/ 535 h 777"/>
                <a:gd name="T18" fmla="*/ 142 w 811"/>
                <a:gd name="T19" fmla="*/ 573 h 777"/>
                <a:gd name="T20" fmla="*/ 321 w 811"/>
                <a:gd name="T21" fmla="*/ 621 h 777"/>
                <a:gd name="T22" fmla="*/ 421 w 811"/>
                <a:gd name="T23" fmla="*/ 649 h 777"/>
                <a:gd name="T24" fmla="*/ 501 w 811"/>
                <a:gd name="T25" fmla="*/ 660 h 777"/>
                <a:gd name="T26" fmla="*/ 679 w 811"/>
                <a:gd name="T27" fmla="*/ 605 h 777"/>
                <a:gd name="T28" fmla="*/ 795 w 811"/>
                <a:gd name="T29" fmla="*/ 444 h 777"/>
                <a:gd name="T30" fmla="*/ 795 w 811"/>
                <a:gd name="T31" fmla="*/ 444 h 777"/>
                <a:gd name="T32" fmla="*/ 802 w 811"/>
                <a:gd name="T33" fmla="*/ 410 h 777"/>
                <a:gd name="T34" fmla="*/ 795 w 811"/>
                <a:gd name="T35" fmla="*/ 561 h 777"/>
                <a:gd name="T36" fmla="*/ 743 w 811"/>
                <a:gd name="T37" fmla="*/ 662 h 777"/>
                <a:gd name="T38" fmla="*/ 717 w 811"/>
                <a:gd name="T39" fmla="*/ 691 h 777"/>
                <a:gd name="T40" fmla="*/ 671 w 811"/>
                <a:gd name="T41" fmla="*/ 727 h 777"/>
                <a:gd name="T42" fmla="*/ 655 w 811"/>
                <a:gd name="T43" fmla="*/ 736 h 777"/>
                <a:gd name="T44" fmla="*/ 537 w 811"/>
                <a:gd name="T45" fmla="*/ 775 h 777"/>
                <a:gd name="T46" fmla="*/ 501 w 811"/>
                <a:gd name="T47" fmla="*/ 777 h 777"/>
                <a:gd name="T48" fmla="*/ 650 w 811"/>
                <a:gd name="T49" fmla="*/ 257 h 777"/>
                <a:gd name="T50" fmla="*/ 495 w 811"/>
                <a:gd name="T51" fmla="*/ 194 h 777"/>
                <a:gd name="T52" fmla="*/ 371 w 811"/>
                <a:gd name="T53" fmla="*/ 232 h 777"/>
                <a:gd name="T54" fmla="*/ 371 w 811"/>
                <a:gd name="T55" fmla="*/ 232 h 777"/>
                <a:gd name="T56" fmla="*/ 369 w 811"/>
                <a:gd name="T57" fmla="*/ 231 h 777"/>
                <a:gd name="T58" fmla="*/ 249 w 811"/>
                <a:gd name="T59" fmla="*/ 179 h 777"/>
                <a:gd name="T60" fmla="*/ 161 w 811"/>
                <a:gd name="T61" fmla="*/ 142 h 777"/>
                <a:gd name="T62" fmla="*/ 91 w 811"/>
                <a:gd name="T63" fmla="*/ 112 h 777"/>
                <a:gd name="T64" fmla="*/ 78 w 811"/>
                <a:gd name="T65" fmla="*/ 106 h 777"/>
                <a:gd name="T66" fmla="*/ 39 w 811"/>
                <a:gd name="T67" fmla="*/ 89 h 777"/>
                <a:gd name="T68" fmla="*/ 103 w 811"/>
                <a:gd name="T69" fmla="*/ 0 h 777"/>
                <a:gd name="T70" fmla="*/ 338 w 811"/>
                <a:gd name="T71" fmla="*/ 101 h 777"/>
                <a:gd name="T72" fmla="*/ 604 w 811"/>
                <a:gd name="T73" fmla="*/ 215 h 777"/>
                <a:gd name="T74" fmla="*/ 634 w 811"/>
                <a:gd name="T75" fmla="*/ 236 h 777"/>
                <a:gd name="T76" fmla="*/ 650 w 811"/>
                <a:gd name="T77" fmla="*/ 25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1" h="777">
                  <a:moveTo>
                    <a:pt x="501" y="777"/>
                  </a:moveTo>
                  <a:cubicBezTo>
                    <a:pt x="486" y="777"/>
                    <a:pt x="471" y="776"/>
                    <a:pt x="455" y="773"/>
                  </a:cubicBezTo>
                  <a:cubicBezTo>
                    <a:pt x="444" y="772"/>
                    <a:pt x="432" y="769"/>
                    <a:pt x="420" y="766"/>
                  </a:cubicBezTo>
                  <a:cubicBezTo>
                    <a:pt x="402" y="760"/>
                    <a:pt x="369" y="751"/>
                    <a:pt x="323" y="739"/>
                  </a:cubicBezTo>
                  <a:cubicBezTo>
                    <a:pt x="297" y="732"/>
                    <a:pt x="268" y="724"/>
                    <a:pt x="235" y="715"/>
                  </a:cubicBezTo>
                  <a:cubicBezTo>
                    <a:pt x="188" y="702"/>
                    <a:pt x="134" y="688"/>
                    <a:pt x="74" y="672"/>
                  </a:cubicBezTo>
                  <a:cubicBezTo>
                    <a:pt x="65" y="659"/>
                    <a:pt x="56" y="646"/>
                    <a:pt x="47" y="632"/>
                  </a:cubicBezTo>
                  <a:lnTo>
                    <a:pt x="47" y="632"/>
                  </a:lnTo>
                  <a:cubicBezTo>
                    <a:pt x="28" y="601"/>
                    <a:pt x="13" y="569"/>
                    <a:pt x="0" y="535"/>
                  </a:cubicBezTo>
                  <a:cubicBezTo>
                    <a:pt x="51" y="549"/>
                    <a:pt x="99" y="561"/>
                    <a:pt x="142" y="573"/>
                  </a:cubicBezTo>
                  <a:cubicBezTo>
                    <a:pt x="213" y="592"/>
                    <a:pt x="274" y="608"/>
                    <a:pt x="321" y="621"/>
                  </a:cubicBezTo>
                  <a:cubicBezTo>
                    <a:pt x="368" y="634"/>
                    <a:pt x="403" y="644"/>
                    <a:pt x="421" y="649"/>
                  </a:cubicBezTo>
                  <a:cubicBezTo>
                    <a:pt x="447" y="657"/>
                    <a:pt x="474" y="660"/>
                    <a:pt x="501" y="660"/>
                  </a:cubicBezTo>
                  <a:cubicBezTo>
                    <a:pt x="563" y="660"/>
                    <a:pt x="626" y="641"/>
                    <a:pt x="679" y="605"/>
                  </a:cubicBezTo>
                  <a:cubicBezTo>
                    <a:pt x="732" y="569"/>
                    <a:pt x="776" y="514"/>
                    <a:pt x="795" y="444"/>
                  </a:cubicBezTo>
                  <a:lnTo>
                    <a:pt x="795" y="444"/>
                  </a:lnTo>
                  <a:cubicBezTo>
                    <a:pt x="798" y="433"/>
                    <a:pt x="801" y="422"/>
                    <a:pt x="802" y="410"/>
                  </a:cubicBezTo>
                  <a:cubicBezTo>
                    <a:pt x="811" y="461"/>
                    <a:pt x="808" y="514"/>
                    <a:pt x="795" y="561"/>
                  </a:cubicBezTo>
                  <a:cubicBezTo>
                    <a:pt x="785" y="598"/>
                    <a:pt x="767" y="632"/>
                    <a:pt x="743" y="662"/>
                  </a:cubicBezTo>
                  <a:cubicBezTo>
                    <a:pt x="735" y="672"/>
                    <a:pt x="727" y="682"/>
                    <a:pt x="717" y="691"/>
                  </a:cubicBezTo>
                  <a:cubicBezTo>
                    <a:pt x="703" y="704"/>
                    <a:pt x="688" y="716"/>
                    <a:pt x="671" y="727"/>
                  </a:cubicBezTo>
                  <a:cubicBezTo>
                    <a:pt x="666" y="730"/>
                    <a:pt x="661" y="733"/>
                    <a:pt x="655" y="736"/>
                  </a:cubicBezTo>
                  <a:cubicBezTo>
                    <a:pt x="618" y="757"/>
                    <a:pt x="578" y="770"/>
                    <a:pt x="537" y="775"/>
                  </a:cubicBezTo>
                  <a:cubicBezTo>
                    <a:pt x="526" y="776"/>
                    <a:pt x="513" y="777"/>
                    <a:pt x="501" y="777"/>
                  </a:cubicBezTo>
                  <a:moveTo>
                    <a:pt x="650" y="257"/>
                  </a:moveTo>
                  <a:cubicBezTo>
                    <a:pt x="610" y="218"/>
                    <a:pt x="556" y="194"/>
                    <a:pt x="495" y="194"/>
                  </a:cubicBezTo>
                  <a:cubicBezTo>
                    <a:pt x="449" y="194"/>
                    <a:pt x="407" y="208"/>
                    <a:pt x="371" y="232"/>
                  </a:cubicBezTo>
                  <a:lnTo>
                    <a:pt x="371" y="232"/>
                  </a:lnTo>
                  <a:lnTo>
                    <a:pt x="369" y="231"/>
                  </a:lnTo>
                  <a:cubicBezTo>
                    <a:pt x="332" y="215"/>
                    <a:pt x="292" y="198"/>
                    <a:pt x="249" y="179"/>
                  </a:cubicBezTo>
                  <a:cubicBezTo>
                    <a:pt x="221" y="167"/>
                    <a:pt x="191" y="155"/>
                    <a:pt x="161" y="142"/>
                  </a:cubicBezTo>
                  <a:cubicBezTo>
                    <a:pt x="138" y="132"/>
                    <a:pt x="115" y="122"/>
                    <a:pt x="91" y="112"/>
                  </a:cubicBezTo>
                  <a:cubicBezTo>
                    <a:pt x="87" y="110"/>
                    <a:pt x="82" y="108"/>
                    <a:pt x="78" y="106"/>
                  </a:cubicBezTo>
                  <a:cubicBezTo>
                    <a:pt x="65" y="101"/>
                    <a:pt x="52" y="95"/>
                    <a:pt x="39" y="89"/>
                  </a:cubicBezTo>
                  <a:cubicBezTo>
                    <a:pt x="57" y="57"/>
                    <a:pt x="79" y="28"/>
                    <a:pt x="103" y="0"/>
                  </a:cubicBezTo>
                  <a:cubicBezTo>
                    <a:pt x="190" y="37"/>
                    <a:pt x="269" y="71"/>
                    <a:pt x="338" y="101"/>
                  </a:cubicBezTo>
                  <a:cubicBezTo>
                    <a:pt x="473" y="159"/>
                    <a:pt x="569" y="200"/>
                    <a:pt x="604" y="215"/>
                  </a:cubicBezTo>
                  <a:cubicBezTo>
                    <a:pt x="616" y="221"/>
                    <a:pt x="626" y="228"/>
                    <a:pt x="634" y="236"/>
                  </a:cubicBezTo>
                  <a:cubicBezTo>
                    <a:pt x="640" y="242"/>
                    <a:pt x="646" y="249"/>
                    <a:pt x="650" y="257"/>
                  </a:cubicBezTo>
                </a:path>
              </a:pathLst>
            </a:custGeom>
            <a:solidFill>
              <a:srgbClr val="4C4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53">
              <a:extLst>
                <a:ext uri="{FF2B5EF4-FFF2-40B4-BE49-F238E27FC236}">
                  <a16:creationId xmlns:a16="http://schemas.microsoft.com/office/drawing/2014/main" id="{72AB985B-87F6-78D9-0E77-D0E2C56B4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19638" y="2655887"/>
              <a:ext cx="136525" cy="98425"/>
            </a:xfrm>
            <a:custGeom>
              <a:avLst/>
              <a:gdLst>
                <a:gd name="T0" fmla="*/ 295 w 303"/>
                <a:gd name="T1" fmla="*/ 217 h 217"/>
                <a:gd name="T2" fmla="*/ 233 w 303"/>
                <a:gd name="T3" fmla="*/ 138 h 217"/>
                <a:gd name="T4" fmla="*/ 0 w 303"/>
                <a:gd name="T5" fmla="*/ 38 h 217"/>
                <a:gd name="T6" fmla="*/ 124 w 303"/>
                <a:gd name="T7" fmla="*/ 0 h 217"/>
                <a:gd name="T8" fmla="*/ 279 w 303"/>
                <a:gd name="T9" fmla="*/ 63 h 217"/>
                <a:gd name="T10" fmla="*/ 293 w 303"/>
                <a:gd name="T11" fmla="*/ 92 h 217"/>
                <a:gd name="T12" fmla="*/ 303 w 303"/>
                <a:gd name="T13" fmla="*/ 158 h 217"/>
                <a:gd name="T14" fmla="*/ 295 w 303"/>
                <a:gd name="T15" fmla="*/ 215 h 217"/>
                <a:gd name="T16" fmla="*/ 295 w 303"/>
                <a:gd name="T17" fmla="*/ 215 h 217"/>
                <a:gd name="T18" fmla="*/ 295 w 303"/>
                <a:gd name="T1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3" h="217">
                  <a:moveTo>
                    <a:pt x="295" y="217"/>
                  </a:moveTo>
                  <a:cubicBezTo>
                    <a:pt x="285" y="183"/>
                    <a:pt x="266" y="152"/>
                    <a:pt x="233" y="138"/>
                  </a:cubicBezTo>
                  <a:cubicBezTo>
                    <a:pt x="200" y="124"/>
                    <a:pt x="117" y="88"/>
                    <a:pt x="0" y="38"/>
                  </a:cubicBezTo>
                  <a:cubicBezTo>
                    <a:pt x="36" y="14"/>
                    <a:pt x="78" y="0"/>
                    <a:pt x="124" y="0"/>
                  </a:cubicBezTo>
                  <a:cubicBezTo>
                    <a:pt x="185" y="0"/>
                    <a:pt x="239" y="24"/>
                    <a:pt x="279" y="63"/>
                  </a:cubicBezTo>
                  <a:cubicBezTo>
                    <a:pt x="285" y="72"/>
                    <a:pt x="289" y="81"/>
                    <a:pt x="293" y="92"/>
                  </a:cubicBezTo>
                  <a:cubicBezTo>
                    <a:pt x="299" y="112"/>
                    <a:pt x="303" y="136"/>
                    <a:pt x="303" y="158"/>
                  </a:cubicBezTo>
                  <a:cubicBezTo>
                    <a:pt x="303" y="179"/>
                    <a:pt x="300" y="199"/>
                    <a:pt x="295" y="215"/>
                  </a:cubicBezTo>
                  <a:lnTo>
                    <a:pt x="295" y="215"/>
                  </a:lnTo>
                  <a:cubicBezTo>
                    <a:pt x="295" y="215"/>
                    <a:pt x="295" y="216"/>
                    <a:pt x="295" y="217"/>
                  </a:cubicBezTo>
                </a:path>
              </a:pathLst>
            </a:custGeom>
            <a:solidFill>
              <a:srgbClr val="2524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54">
              <a:extLst>
                <a:ext uri="{FF2B5EF4-FFF2-40B4-BE49-F238E27FC236}">
                  <a16:creationId xmlns:a16="http://schemas.microsoft.com/office/drawing/2014/main" id="{8B73B600-62A1-3D61-10EB-D9EADE0657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32363" y="2551112"/>
              <a:ext cx="92075" cy="322263"/>
            </a:xfrm>
            <a:custGeom>
              <a:avLst/>
              <a:gdLst>
                <a:gd name="T0" fmla="*/ 172 w 201"/>
                <a:gd name="T1" fmla="*/ 707 h 707"/>
                <a:gd name="T2" fmla="*/ 108 w 201"/>
                <a:gd name="T3" fmla="*/ 690 h 707"/>
                <a:gd name="T4" fmla="*/ 54 w 201"/>
                <a:gd name="T5" fmla="*/ 675 h 707"/>
                <a:gd name="T6" fmla="*/ 50 w 201"/>
                <a:gd name="T7" fmla="*/ 674 h 707"/>
                <a:gd name="T8" fmla="*/ 12 w 201"/>
                <a:gd name="T9" fmla="*/ 585 h 707"/>
                <a:gd name="T10" fmla="*/ 12 w 201"/>
                <a:gd name="T11" fmla="*/ 584 h 707"/>
                <a:gd name="T12" fmla="*/ 0 w 201"/>
                <a:gd name="T13" fmla="*/ 545 h 707"/>
                <a:gd name="T14" fmla="*/ 0 w 201"/>
                <a:gd name="T15" fmla="*/ 545 h 707"/>
                <a:gd name="T16" fmla="*/ 0 w 201"/>
                <a:gd name="T17" fmla="*/ 544 h 707"/>
                <a:gd name="T18" fmla="*/ 98 w 201"/>
                <a:gd name="T19" fmla="*/ 570 h 707"/>
                <a:gd name="T20" fmla="*/ 145 w 201"/>
                <a:gd name="T21" fmla="*/ 667 h 707"/>
                <a:gd name="T22" fmla="*/ 145 w 201"/>
                <a:gd name="T23" fmla="*/ 667 h 707"/>
                <a:gd name="T24" fmla="*/ 172 w 201"/>
                <a:gd name="T25" fmla="*/ 707 h 707"/>
                <a:gd name="T26" fmla="*/ 137 w 201"/>
                <a:gd name="T27" fmla="*/ 124 h 707"/>
                <a:gd name="T28" fmla="*/ 97 w 201"/>
                <a:gd name="T29" fmla="*/ 108 h 707"/>
                <a:gd name="T30" fmla="*/ 60 w 201"/>
                <a:gd name="T31" fmla="*/ 92 h 707"/>
                <a:gd name="T32" fmla="*/ 57 w 201"/>
                <a:gd name="T33" fmla="*/ 90 h 707"/>
                <a:gd name="T34" fmla="*/ 59 w 201"/>
                <a:gd name="T35" fmla="*/ 86 h 707"/>
                <a:gd name="T36" fmla="*/ 59 w 201"/>
                <a:gd name="T37" fmla="*/ 87 h 707"/>
                <a:gd name="T38" fmla="*/ 118 w 201"/>
                <a:gd name="T39" fmla="*/ 0 h 707"/>
                <a:gd name="T40" fmla="*/ 201 w 201"/>
                <a:gd name="T41" fmla="*/ 35 h 707"/>
                <a:gd name="T42" fmla="*/ 137 w 201"/>
                <a:gd name="T43" fmla="*/ 124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1" h="707">
                  <a:moveTo>
                    <a:pt x="172" y="707"/>
                  </a:moveTo>
                  <a:cubicBezTo>
                    <a:pt x="152" y="701"/>
                    <a:pt x="130" y="695"/>
                    <a:pt x="108" y="690"/>
                  </a:cubicBezTo>
                  <a:cubicBezTo>
                    <a:pt x="91" y="685"/>
                    <a:pt x="72" y="680"/>
                    <a:pt x="54" y="675"/>
                  </a:cubicBezTo>
                  <a:cubicBezTo>
                    <a:pt x="53" y="674"/>
                    <a:pt x="51" y="674"/>
                    <a:pt x="50" y="674"/>
                  </a:cubicBezTo>
                  <a:cubicBezTo>
                    <a:pt x="35" y="645"/>
                    <a:pt x="22" y="616"/>
                    <a:pt x="12" y="585"/>
                  </a:cubicBezTo>
                  <a:lnTo>
                    <a:pt x="12" y="584"/>
                  </a:lnTo>
                  <a:cubicBezTo>
                    <a:pt x="8" y="572"/>
                    <a:pt x="4" y="559"/>
                    <a:pt x="0" y="545"/>
                  </a:cubicBezTo>
                  <a:lnTo>
                    <a:pt x="0" y="545"/>
                  </a:lnTo>
                  <a:cubicBezTo>
                    <a:pt x="0" y="544"/>
                    <a:pt x="0" y="544"/>
                    <a:pt x="0" y="544"/>
                  </a:cubicBezTo>
                  <a:cubicBezTo>
                    <a:pt x="34" y="553"/>
                    <a:pt x="67" y="562"/>
                    <a:pt x="98" y="570"/>
                  </a:cubicBezTo>
                  <a:cubicBezTo>
                    <a:pt x="111" y="604"/>
                    <a:pt x="126" y="636"/>
                    <a:pt x="145" y="667"/>
                  </a:cubicBezTo>
                  <a:lnTo>
                    <a:pt x="145" y="667"/>
                  </a:lnTo>
                  <a:cubicBezTo>
                    <a:pt x="154" y="681"/>
                    <a:pt x="163" y="694"/>
                    <a:pt x="172" y="707"/>
                  </a:cubicBezTo>
                  <a:close/>
                  <a:moveTo>
                    <a:pt x="137" y="124"/>
                  </a:moveTo>
                  <a:cubicBezTo>
                    <a:pt x="124" y="119"/>
                    <a:pt x="110" y="113"/>
                    <a:pt x="97" y="108"/>
                  </a:cubicBezTo>
                  <a:cubicBezTo>
                    <a:pt x="85" y="102"/>
                    <a:pt x="72" y="97"/>
                    <a:pt x="60" y="92"/>
                  </a:cubicBezTo>
                  <a:cubicBezTo>
                    <a:pt x="59" y="91"/>
                    <a:pt x="58" y="91"/>
                    <a:pt x="57" y="90"/>
                  </a:cubicBezTo>
                  <a:lnTo>
                    <a:pt x="59" y="86"/>
                  </a:lnTo>
                  <a:lnTo>
                    <a:pt x="59" y="87"/>
                  </a:lnTo>
                  <a:cubicBezTo>
                    <a:pt x="76" y="56"/>
                    <a:pt x="96" y="27"/>
                    <a:pt x="118" y="0"/>
                  </a:cubicBezTo>
                  <a:cubicBezTo>
                    <a:pt x="146" y="12"/>
                    <a:pt x="174" y="24"/>
                    <a:pt x="201" y="35"/>
                  </a:cubicBezTo>
                  <a:cubicBezTo>
                    <a:pt x="177" y="63"/>
                    <a:pt x="155" y="92"/>
                    <a:pt x="137" y="124"/>
                  </a:cubicBezTo>
                </a:path>
              </a:pathLst>
            </a:custGeom>
            <a:solidFill>
              <a:srgbClr val="3634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55">
              <a:extLst>
                <a:ext uri="{FF2B5EF4-FFF2-40B4-BE49-F238E27FC236}">
                  <a16:creationId xmlns:a16="http://schemas.microsoft.com/office/drawing/2014/main" id="{55B10E1A-E293-B980-4028-C8F0FC11F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99088" y="2719387"/>
              <a:ext cx="4763" cy="4763"/>
            </a:xfrm>
            <a:custGeom>
              <a:avLst/>
              <a:gdLst>
                <a:gd name="T0" fmla="*/ 0 w 9"/>
                <a:gd name="T1" fmla="*/ 11 h 11"/>
                <a:gd name="T2" fmla="*/ 9 w 9"/>
                <a:gd name="T3" fmla="*/ 0 h 11"/>
                <a:gd name="T4" fmla="*/ 9 w 9"/>
                <a:gd name="T5" fmla="*/ 1 h 11"/>
                <a:gd name="T6" fmla="*/ 0 w 9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1">
                  <a:moveTo>
                    <a:pt x="0" y="11"/>
                  </a:moveTo>
                  <a:cubicBezTo>
                    <a:pt x="3" y="8"/>
                    <a:pt x="6" y="4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6" y="4"/>
                    <a:pt x="3" y="8"/>
                    <a:pt x="0" y="11"/>
                  </a:cubicBezTo>
                  <a:close/>
                </a:path>
              </a:pathLst>
            </a:custGeom>
            <a:solidFill>
              <a:srgbClr val="76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56">
              <a:extLst>
                <a:ext uri="{FF2B5EF4-FFF2-40B4-BE49-F238E27FC236}">
                  <a16:creationId xmlns:a16="http://schemas.microsoft.com/office/drawing/2014/main" id="{928797E6-5D18-319F-2D9A-470E95EFE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05438" y="2676525"/>
              <a:ext cx="19050" cy="31750"/>
            </a:xfrm>
            <a:custGeom>
              <a:avLst/>
              <a:gdLst>
                <a:gd name="T0" fmla="*/ 42 w 42"/>
                <a:gd name="T1" fmla="*/ 70 h 70"/>
                <a:gd name="T2" fmla="*/ 0 w 42"/>
                <a:gd name="T3" fmla="*/ 0 h 70"/>
                <a:gd name="T4" fmla="*/ 3 w 42"/>
                <a:gd name="T5" fmla="*/ 5 h 70"/>
                <a:gd name="T6" fmla="*/ 30 w 42"/>
                <a:gd name="T7" fmla="*/ 48 h 70"/>
                <a:gd name="T8" fmla="*/ 42 w 42"/>
                <a:gd name="T9" fmla="*/ 70 h 70"/>
                <a:gd name="T10" fmla="*/ 42 w 42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70">
                  <a:moveTo>
                    <a:pt x="42" y="70"/>
                  </a:moveTo>
                  <a:cubicBezTo>
                    <a:pt x="30" y="46"/>
                    <a:pt x="15" y="23"/>
                    <a:pt x="0" y="0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2" y="19"/>
                    <a:pt x="21" y="33"/>
                    <a:pt x="30" y="48"/>
                  </a:cubicBezTo>
                  <a:cubicBezTo>
                    <a:pt x="34" y="55"/>
                    <a:pt x="38" y="62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</a:path>
              </a:pathLst>
            </a:custGeom>
            <a:solidFill>
              <a:srgbClr val="76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57">
              <a:extLst>
                <a:ext uri="{FF2B5EF4-FFF2-40B4-BE49-F238E27FC236}">
                  <a16:creationId xmlns:a16="http://schemas.microsoft.com/office/drawing/2014/main" id="{2BE5EDAD-4E00-2530-4819-D15EDD21F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2000" y="2551112"/>
              <a:ext cx="104775" cy="82550"/>
            </a:xfrm>
            <a:custGeom>
              <a:avLst/>
              <a:gdLst>
                <a:gd name="T0" fmla="*/ 228 w 233"/>
                <a:gd name="T1" fmla="*/ 178 h 178"/>
                <a:gd name="T2" fmla="*/ 135 w 233"/>
                <a:gd name="T3" fmla="*/ 152 h 178"/>
                <a:gd name="T4" fmla="*/ 0 w 233"/>
                <a:gd name="T5" fmla="*/ 114 h 178"/>
                <a:gd name="T6" fmla="*/ 10 w 233"/>
                <a:gd name="T7" fmla="*/ 0 h 178"/>
                <a:gd name="T8" fmla="*/ 71 w 233"/>
                <a:gd name="T9" fmla="*/ 18 h 178"/>
                <a:gd name="T10" fmla="*/ 72 w 233"/>
                <a:gd name="T11" fmla="*/ 21 h 178"/>
                <a:gd name="T12" fmla="*/ 72 w 233"/>
                <a:gd name="T13" fmla="*/ 21 h 178"/>
                <a:gd name="T14" fmla="*/ 72 w 233"/>
                <a:gd name="T15" fmla="*/ 18 h 178"/>
                <a:gd name="T16" fmla="*/ 213 w 233"/>
                <a:gd name="T17" fmla="*/ 57 h 178"/>
                <a:gd name="T18" fmla="*/ 233 w 233"/>
                <a:gd name="T19" fmla="*/ 138 h 178"/>
                <a:gd name="T20" fmla="*/ 228 w 233"/>
                <a:gd name="T21" fmla="*/ 178 h 178"/>
                <a:gd name="T22" fmla="*/ 228 w 233"/>
                <a:gd name="T23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178">
                  <a:moveTo>
                    <a:pt x="228" y="178"/>
                  </a:moveTo>
                  <a:cubicBezTo>
                    <a:pt x="195" y="169"/>
                    <a:pt x="164" y="160"/>
                    <a:pt x="135" y="152"/>
                  </a:cubicBezTo>
                  <a:cubicBezTo>
                    <a:pt x="84" y="138"/>
                    <a:pt x="39" y="125"/>
                    <a:pt x="0" y="114"/>
                  </a:cubicBezTo>
                  <a:lnTo>
                    <a:pt x="10" y="0"/>
                  </a:lnTo>
                  <a:cubicBezTo>
                    <a:pt x="29" y="6"/>
                    <a:pt x="50" y="12"/>
                    <a:pt x="71" y="18"/>
                  </a:cubicBezTo>
                  <a:cubicBezTo>
                    <a:pt x="70" y="20"/>
                    <a:pt x="70" y="21"/>
                    <a:pt x="72" y="21"/>
                  </a:cubicBezTo>
                  <a:lnTo>
                    <a:pt x="72" y="21"/>
                  </a:lnTo>
                  <a:lnTo>
                    <a:pt x="72" y="18"/>
                  </a:lnTo>
                  <a:cubicBezTo>
                    <a:pt x="114" y="30"/>
                    <a:pt x="161" y="43"/>
                    <a:pt x="213" y="57"/>
                  </a:cubicBezTo>
                  <a:cubicBezTo>
                    <a:pt x="226" y="81"/>
                    <a:pt x="233" y="109"/>
                    <a:pt x="233" y="138"/>
                  </a:cubicBezTo>
                  <a:cubicBezTo>
                    <a:pt x="233" y="152"/>
                    <a:pt x="231" y="165"/>
                    <a:pt x="228" y="178"/>
                  </a:cubicBezTo>
                  <a:lnTo>
                    <a:pt x="228" y="178"/>
                  </a:lnTo>
                </a:path>
              </a:pathLst>
            </a:custGeom>
            <a:solidFill>
              <a:srgbClr val="1D18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58">
              <a:extLst>
                <a:ext uri="{FF2B5EF4-FFF2-40B4-BE49-F238E27FC236}">
                  <a16:creationId xmlns:a16="http://schemas.microsoft.com/office/drawing/2014/main" id="{317386F0-2DE4-A6A4-4326-08C8F0668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46750" y="2578100"/>
              <a:ext cx="193675" cy="92075"/>
            </a:xfrm>
            <a:custGeom>
              <a:avLst/>
              <a:gdLst>
                <a:gd name="T0" fmla="*/ 313 w 429"/>
                <a:gd name="T1" fmla="*/ 203 h 203"/>
                <a:gd name="T2" fmla="*/ 313 w 429"/>
                <a:gd name="T3" fmla="*/ 203 h 203"/>
                <a:gd name="T4" fmla="*/ 15 w 429"/>
                <a:gd name="T5" fmla="*/ 121 h 203"/>
                <a:gd name="T6" fmla="*/ 15 w 429"/>
                <a:gd name="T7" fmla="*/ 121 h 203"/>
                <a:gd name="T8" fmla="*/ 15 w 429"/>
                <a:gd name="T9" fmla="*/ 121 h 203"/>
                <a:gd name="T10" fmla="*/ 20 w 429"/>
                <a:gd name="T11" fmla="*/ 81 h 203"/>
                <a:gd name="T12" fmla="*/ 0 w 429"/>
                <a:gd name="T13" fmla="*/ 0 h 203"/>
                <a:gd name="T14" fmla="*/ 265 w 429"/>
                <a:gd name="T15" fmla="*/ 73 h 203"/>
                <a:gd name="T16" fmla="*/ 429 w 429"/>
                <a:gd name="T17" fmla="*/ 118 h 203"/>
                <a:gd name="T18" fmla="*/ 424 w 429"/>
                <a:gd name="T19" fmla="*/ 122 h 203"/>
                <a:gd name="T20" fmla="*/ 424 w 429"/>
                <a:gd name="T21" fmla="*/ 122 h 203"/>
                <a:gd name="T22" fmla="*/ 424 w 429"/>
                <a:gd name="T23" fmla="*/ 122 h 203"/>
                <a:gd name="T24" fmla="*/ 402 w 429"/>
                <a:gd name="T25" fmla="*/ 141 h 203"/>
                <a:gd name="T26" fmla="*/ 401 w 429"/>
                <a:gd name="T27" fmla="*/ 141 h 203"/>
                <a:gd name="T28" fmla="*/ 400 w 429"/>
                <a:gd name="T29" fmla="*/ 142 h 203"/>
                <a:gd name="T30" fmla="*/ 356 w 429"/>
                <a:gd name="T31" fmla="*/ 175 h 203"/>
                <a:gd name="T32" fmla="*/ 353 w 429"/>
                <a:gd name="T33" fmla="*/ 177 h 203"/>
                <a:gd name="T34" fmla="*/ 352 w 429"/>
                <a:gd name="T35" fmla="*/ 178 h 203"/>
                <a:gd name="T36" fmla="*/ 330 w 429"/>
                <a:gd name="T37" fmla="*/ 193 h 203"/>
                <a:gd name="T38" fmla="*/ 328 w 429"/>
                <a:gd name="T39" fmla="*/ 193 h 203"/>
                <a:gd name="T40" fmla="*/ 328 w 429"/>
                <a:gd name="T41" fmla="*/ 193 h 203"/>
                <a:gd name="T42" fmla="*/ 313 w 429"/>
                <a:gd name="T4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9" h="203">
                  <a:moveTo>
                    <a:pt x="313" y="203"/>
                  </a:moveTo>
                  <a:lnTo>
                    <a:pt x="313" y="203"/>
                  </a:lnTo>
                  <a:cubicBezTo>
                    <a:pt x="205" y="173"/>
                    <a:pt x="104" y="146"/>
                    <a:pt x="15" y="121"/>
                  </a:cubicBezTo>
                  <a:lnTo>
                    <a:pt x="15" y="121"/>
                  </a:lnTo>
                  <a:lnTo>
                    <a:pt x="15" y="121"/>
                  </a:lnTo>
                  <a:cubicBezTo>
                    <a:pt x="18" y="108"/>
                    <a:pt x="20" y="95"/>
                    <a:pt x="20" y="81"/>
                  </a:cubicBezTo>
                  <a:cubicBezTo>
                    <a:pt x="20" y="52"/>
                    <a:pt x="13" y="24"/>
                    <a:pt x="0" y="0"/>
                  </a:cubicBezTo>
                  <a:cubicBezTo>
                    <a:pt x="79" y="22"/>
                    <a:pt x="168" y="47"/>
                    <a:pt x="265" y="73"/>
                  </a:cubicBezTo>
                  <a:cubicBezTo>
                    <a:pt x="318" y="87"/>
                    <a:pt x="373" y="102"/>
                    <a:pt x="429" y="118"/>
                  </a:cubicBezTo>
                  <a:cubicBezTo>
                    <a:pt x="428" y="119"/>
                    <a:pt x="426" y="120"/>
                    <a:pt x="424" y="122"/>
                  </a:cubicBezTo>
                  <a:cubicBezTo>
                    <a:pt x="424" y="122"/>
                    <a:pt x="424" y="122"/>
                    <a:pt x="424" y="122"/>
                  </a:cubicBezTo>
                  <a:cubicBezTo>
                    <a:pt x="424" y="122"/>
                    <a:pt x="424" y="122"/>
                    <a:pt x="424" y="122"/>
                  </a:cubicBezTo>
                  <a:cubicBezTo>
                    <a:pt x="417" y="128"/>
                    <a:pt x="409" y="135"/>
                    <a:pt x="402" y="141"/>
                  </a:cubicBezTo>
                  <a:lnTo>
                    <a:pt x="401" y="141"/>
                  </a:lnTo>
                  <a:cubicBezTo>
                    <a:pt x="401" y="141"/>
                    <a:pt x="400" y="142"/>
                    <a:pt x="400" y="142"/>
                  </a:cubicBezTo>
                  <a:cubicBezTo>
                    <a:pt x="386" y="153"/>
                    <a:pt x="371" y="164"/>
                    <a:pt x="356" y="175"/>
                  </a:cubicBezTo>
                  <a:cubicBezTo>
                    <a:pt x="355" y="175"/>
                    <a:pt x="354" y="176"/>
                    <a:pt x="353" y="177"/>
                  </a:cubicBezTo>
                  <a:lnTo>
                    <a:pt x="352" y="178"/>
                  </a:lnTo>
                  <a:cubicBezTo>
                    <a:pt x="344" y="183"/>
                    <a:pt x="337" y="188"/>
                    <a:pt x="330" y="193"/>
                  </a:cubicBezTo>
                  <a:cubicBezTo>
                    <a:pt x="329" y="193"/>
                    <a:pt x="329" y="193"/>
                    <a:pt x="328" y="193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323" y="197"/>
                    <a:pt x="318" y="200"/>
                    <a:pt x="313" y="203"/>
                  </a:cubicBezTo>
                </a:path>
              </a:pathLst>
            </a:custGeom>
            <a:solidFill>
              <a:srgbClr val="9D9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59">
              <a:extLst>
                <a:ext uri="{FF2B5EF4-FFF2-40B4-BE49-F238E27FC236}">
                  <a16:creationId xmlns:a16="http://schemas.microsoft.com/office/drawing/2014/main" id="{9A072941-77BD-3587-BE59-164B03FB31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597525" y="2633662"/>
              <a:ext cx="42863" cy="31750"/>
            </a:xfrm>
            <a:custGeom>
              <a:avLst/>
              <a:gdLst>
                <a:gd name="T0" fmla="*/ 0 w 96"/>
                <a:gd name="T1" fmla="*/ 71 h 71"/>
                <a:gd name="T2" fmla="*/ 0 w 96"/>
                <a:gd name="T3" fmla="*/ 71 h 71"/>
                <a:gd name="T4" fmla="*/ 2 w 96"/>
                <a:gd name="T5" fmla="*/ 71 h 71"/>
                <a:gd name="T6" fmla="*/ 0 w 96"/>
                <a:gd name="T7" fmla="*/ 71 h 71"/>
                <a:gd name="T8" fmla="*/ 24 w 96"/>
                <a:gd name="T9" fmla="*/ 56 h 71"/>
                <a:gd name="T10" fmla="*/ 25 w 96"/>
                <a:gd name="T11" fmla="*/ 55 h 71"/>
                <a:gd name="T12" fmla="*/ 28 w 96"/>
                <a:gd name="T13" fmla="*/ 53 h 71"/>
                <a:gd name="T14" fmla="*/ 24 w 96"/>
                <a:gd name="T15" fmla="*/ 56 h 71"/>
                <a:gd name="T16" fmla="*/ 72 w 96"/>
                <a:gd name="T17" fmla="*/ 20 h 71"/>
                <a:gd name="T18" fmla="*/ 73 w 96"/>
                <a:gd name="T19" fmla="*/ 19 h 71"/>
                <a:gd name="T20" fmla="*/ 74 w 96"/>
                <a:gd name="T21" fmla="*/ 19 h 71"/>
                <a:gd name="T22" fmla="*/ 72 w 96"/>
                <a:gd name="T23" fmla="*/ 20 h 71"/>
                <a:gd name="T24" fmla="*/ 96 w 96"/>
                <a:gd name="T25" fmla="*/ 0 h 71"/>
                <a:gd name="T26" fmla="*/ 96 w 96"/>
                <a:gd name="T27" fmla="*/ 0 h 71"/>
                <a:gd name="T28" fmla="*/ 96 w 96"/>
                <a:gd name="T29" fmla="*/ 0 h 71"/>
                <a:gd name="T30" fmla="*/ 96 w 96"/>
                <a:gd name="T3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71">
                  <a:moveTo>
                    <a:pt x="0" y="71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1" y="71"/>
                    <a:pt x="1" y="71"/>
                    <a:pt x="2" y="71"/>
                  </a:cubicBezTo>
                  <a:cubicBezTo>
                    <a:pt x="1" y="71"/>
                    <a:pt x="1" y="71"/>
                    <a:pt x="0" y="71"/>
                  </a:cubicBezTo>
                  <a:close/>
                  <a:moveTo>
                    <a:pt x="24" y="56"/>
                  </a:moveTo>
                  <a:lnTo>
                    <a:pt x="25" y="55"/>
                  </a:lnTo>
                  <a:cubicBezTo>
                    <a:pt x="26" y="54"/>
                    <a:pt x="27" y="53"/>
                    <a:pt x="28" y="53"/>
                  </a:cubicBezTo>
                  <a:cubicBezTo>
                    <a:pt x="26" y="54"/>
                    <a:pt x="25" y="55"/>
                    <a:pt x="24" y="56"/>
                  </a:cubicBezTo>
                  <a:close/>
                  <a:moveTo>
                    <a:pt x="72" y="20"/>
                  </a:moveTo>
                  <a:cubicBezTo>
                    <a:pt x="72" y="20"/>
                    <a:pt x="73" y="19"/>
                    <a:pt x="73" y="19"/>
                  </a:cubicBezTo>
                  <a:lnTo>
                    <a:pt x="74" y="19"/>
                  </a:lnTo>
                  <a:cubicBezTo>
                    <a:pt x="73" y="19"/>
                    <a:pt x="73" y="20"/>
                    <a:pt x="72" y="20"/>
                  </a:cubicBezTo>
                  <a:moveTo>
                    <a:pt x="96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lose/>
                </a:path>
              </a:pathLst>
            </a:custGeom>
            <a:solidFill>
              <a:srgbClr val="76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60">
              <a:extLst>
                <a:ext uri="{FF2B5EF4-FFF2-40B4-BE49-F238E27FC236}">
                  <a16:creationId xmlns:a16="http://schemas.microsoft.com/office/drawing/2014/main" id="{21AB9887-9039-F42D-70FC-A617D74E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4088" y="2397125"/>
              <a:ext cx="49213" cy="111125"/>
            </a:xfrm>
            <a:custGeom>
              <a:avLst/>
              <a:gdLst>
                <a:gd name="T0" fmla="*/ 87 w 109"/>
                <a:gd name="T1" fmla="*/ 243 h 243"/>
                <a:gd name="T2" fmla="*/ 44 w 109"/>
                <a:gd name="T3" fmla="*/ 165 h 243"/>
                <a:gd name="T4" fmla="*/ 0 w 109"/>
                <a:gd name="T5" fmla="*/ 0 h 243"/>
                <a:gd name="T6" fmla="*/ 0 w 109"/>
                <a:gd name="T7" fmla="*/ 0 h 243"/>
                <a:gd name="T8" fmla="*/ 0 w 109"/>
                <a:gd name="T9" fmla="*/ 0 h 243"/>
                <a:gd name="T10" fmla="*/ 31 w 109"/>
                <a:gd name="T11" fmla="*/ 15 h 243"/>
                <a:gd name="T12" fmla="*/ 79 w 109"/>
                <a:gd name="T13" fmla="*/ 113 h 243"/>
                <a:gd name="T14" fmla="*/ 109 w 109"/>
                <a:gd name="T15" fmla="*/ 156 h 243"/>
                <a:gd name="T16" fmla="*/ 87 w 109"/>
                <a:gd name="T17" fmla="*/ 243 h 243"/>
                <a:gd name="T18" fmla="*/ 87 w 109"/>
                <a:gd name="T1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243">
                  <a:moveTo>
                    <a:pt x="87" y="243"/>
                  </a:moveTo>
                  <a:cubicBezTo>
                    <a:pt x="71" y="219"/>
                    <a:pt x="57" y="193"/>
                    <a:pt x="44" y="165"/>
                  </a:cubicBezTo>
                  <a:cubicBezTo>
                    <a:pt x="21" y="112"/>
                    <a:pt x="6" y="56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11" y="4"/>
                    <a:pt x="21" y="9"/>
                    <a:pt x="31" y="15"/>
                  </a:cubicBezTo>
                  <a:cubicBezTo>
                    <a:pt x="44" y="50"/>
                    <a:pt x="60" y="83"/>
                    <a:pt x="79" y="113"/>
                  </a:cubicBezTo>
                  <a:cubicBezTo>
                    <a:pt x="88" y="128"/>
                    <a:pt x="98" y="143"/>
                    <a:pt x="109" y="156"/>
                  </a:cubicBezTo>
                  <a:cubicBezTo>
                    <a:pt x="109" y="186"/>
                    <a:pt x="101" y="216"/>
                    <a:pt x="87" y="243"/>
                  </a:cubicBezTo>
                  <a:lnTo>
                    <a:pt x="87" y="243"/>
                  </a:lnTo>
                  <a:close/>
                </a:path>
              </a:pathLst>
            </a:custGeom>
            <a:solidFill>
              <a:srgbClr val="464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61">
              <a:extLst>
                <a:ext uri="{FF2B5EF4-FFF2-40B4-BE49-F238E27FC236}">
                  <a16:creationId xmlns:a16="http://schemas.microsoft.com/office/drawing/2014/main" id="{59999322-52CA-0A05-F4A8-A304528C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29275" y="2228850"/>
              <a:ext cx="71438" cy="31750"/>
            </a:xfrm>
            <a:custGeom>
              <a:avLst/>
              <a:gdLst>
                <a:gd name="T0" fmla="*/ 138 w 161"/>
                <a:gd name="T1" fmla="*/ 69 h 69"/>
                <a:gd name="T2" fmla="*/ 0 w 161"/>
                <a:gd name="T3" fmla="*/ 0 h 69"/>
                <a:gd name="T4" fmla="*/ 161 w 161"/>
                <a:gd name="T5" fmla="*/ 68 h 69"/>
                <a:gd name="T6" fmla="*/ 138 w 161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69">
                  <a:moveTo>
                    <a:pt x="138" y="69"/>
                  </a:moveTo>
                  <a:cubicBezTo>
                    <a:pt x="85" y="69"/>
                    <a:pt x="33" y="45"/>
                    <a:pt x="0" y="0"/>
                  </a:cubicBezTo>
                  <a:cubicBezTo>
                    <a:pt x="49" y="20"/>
                    <a:pt x="103" y="43"/>
                    <a:pt x="161" y="68"/>
                  </a:cubicBezTo>
                  <a:cubicBezTo>
                    <a:pt x="153" y="69"/>
                    <a:pt x="146" y="69"/>
                    <a:pt x="138" y="69"/>
                  </a:cubicBezTo>
                </a:path>
              </a:pathLst>
            </a:custGeom>
            <a:solidFill>
              <a:srgbClr val="1D18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62">
              <a:extLst>
                <a:ext uri="{FF2B5EF4-FFF2-40B4-BE49-F238E27FC236}">
                  <a16:creationId xmlns:a16="http://schemas.microsoft.com/office/drawing/2014/main" id="{C2678CC2-36C6-3ED2-D570-888CA33B7E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35675" y="2205037"/>
              <a:ext cx="620713" cy="346075"/>
            </a:xfrm>
            <a:custGeom>
              <a:avLst/>
              <a:gdLst>
                <a:gd name="T0" fmla="*/ 169 w 1374"/>
                <a:gd name="T1" fmla="*/ 759 h 759"/>
                <a:gd name="T2" fmla="*/ 169 w 1374"/>
                <a:gd name="T3" fmla="*/ 759 h 759"/>
                <a:gd name="T4" fmla="*/ 90 w 1374"/>
                <a:gd name="T5" fmla="*/ 667 h 759"/>
                <a:gd name="T6" fmla="*/ 90 w 1374"/>
                <a:gd name="T7" fmla="*/ 667 h 759"/>
                <a:gd name="T8" fmla="*/ 90 w 1374"/>
                <a:gd name="T9" fmla="*/ 667 h 759"/>
                <a:gd name="T10" fmla="*/ 112 w 1374"/>
                <a:gd name="T11" fmla="*/ 580 h 759"/>
                <a:gd name="T12" fmla="*/ 173 w 1374"/>
                <a:gd name="T13" fmla="*/ 646 h 759"/>
                <a:gd name="T14" fmla="*/ 178 w 1374"/>
                <a:gd name="T15" fmla="*/ 651 h 759"/>
                <a:gd name="T16" fmla="*/ 169 w 1374"/>
                <a:gd name="T17" fmla="*/ 759 h 759"/>
                <a:gd name="T18" fmla="*/ 34 w 1374"/>
                <a:gd name="T19" fmla="*/ 439 h 759"/>
                <a:gd name="T20" fmla="*/ 3 w 1374"/>
                <a:gd name="T21" fmla="*/ 424 h 759"/>
                <a:gd name="T22" fmla="*/ 3 w 1374"/>
                <a:gd name="T23" fmla="*/ 424 h 759"/>
                <a:gd name="T24" fmla="*/ 4 w 1374"/>
                <a:gd name="T25" fmla="*/ 313 h 759"/>
                <a:gd name="T26" fmla="*/ 34 w 1374"/>
                <a:gd name="T27" fmla="*/ 439 h 759"/>
                <a:gd name="T28" fmla="*/ 1368 w 1374"/>
                <a:gd name="T29" fmla="*/ 369 h 759"/>
                <a:gd name="T30" fmla="*/ 1070 w 1374"/>
                <a:gd name="T31" fmla="*/ 243 h 759"/>
                <a:gd name="T32" fmla="*/ 1067 w 1374"/>
                <a:gd name="T33" fmla="*/ 241 h 759"/>
                <a:gd name="T34" fmla="*/ 859 w 1374"/>
                <a:gd name="T35" fmla="*/ 154 h 759"/>
                <a:gd name="T36" fmla="*/ 771 w 1374"/>
                <a:gd name="T37" fmla="*/ 0 h 759"/>
                <a:gd name="T38" fmla="*/ 897 w 1374"/>
                <a:gd name="T39" fmla="*/ 53 h 759"/>
                <a:gd name="T40" fmla="*/ 1035 w 1374"/>
                <a:gd name="T41" fmla="*/ 122 h 759"/>
                <a:gd name="T42" fmla="*/ 1058 w 1374"/>
                <a:gd name="T43" fmla="*/ 121 h 759"/>
                <a:gd name="T44" fmla="*/ 1182 w 1374"/>
                <a:gd name="T45" fmla="*/ 173 h 759"/>
                <a:gd name="T46" fmla="*/ 1374 w 1374"/>
                <a:gd name="T47" fmla="*/ 254 h 759"/>
                <a:gd name="T48" fmla="*/ 1374 w 1374"/>
                <a:gd name="T49" fmla="*/ 259 h 759"/>
                <a:gd name="T50" fmla="*/ 1368 w 1374"/>
                <a:gd name="T51" fmla="*/ 369 h 759"/>
                <a:gd name="T52" fmla="*/ 1368 w 1374"/>
                <a:gd name="T53" fmla="*/ 369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74" h="759">
                  <a:moveTo>
                    <a:pt x="169" y="759"/>
                  </a:moveTo>
                  <a:cubicBezTo>
                    <a:pt x="169" y="759"/>
                    <a:pt x="169" y="759"/>
                    <a:pt x="169" y="759"/>
                  </a:cubicBezTo>
                  <a:cubicBezTo>
                    <a:pt x="139" y="733"/>
                    <a:pt x="113" y="702"/>
                    <a:pt x="90" y="667"/>
                  </a:cubicBezTo>
                  <a:lnTo>
                    <a:pt x="90" y="667"/>
                  </a:lnTo>
                  <a:lnTo>
                    <a:pt x="90" y="667"/>
                  </a:lnTo>
                  <a:cubicBezTo>
                    <a:pt x="104" y="640"/>
                    <a:pt x="112" y="610"/>
                    <a:pt x="112" y="580"/>
                  </a:cubicBezTo>
                  <a:cubicBezTo>
                    <a:pt x="130" y="604"/>
                    <a:pt x="151" y="626"/>
                    <a:pt x="173" y="646"/>
                  </a:cubicBezTo>
                  <a:cubicBezTo>
                    <a:pt x="175" y="648"/>
                    <a:pt x="177" y="649"/>
                    <a:pt x="178" y="651"/>
                  </a:cubicBezTo>
                  <a:lnTo>
                    <a:pt x="169" y="759"/>
                  </a:lnTo>
                  <a:moveTo>
                    <a:pt x="34" y="439"/>
                  </a:moveTo>
                  <a:cubicBezTo>
                    <a:pt x="24" y="433"/>
                    <a:pt x="14" y="428"/>
                    <a:pt x="3" y="424"/>
                  </a:cubicBezTo>
                  <a:lnTo>
                    <a:pt x="3" y="424"/>
                  </a:lnTo>
                  <a:cubicBezTo>
                    <a:pt x="0" y="386"/>
                    <a:pt x="0" y="349"/>
                    <a:pt x="4" y="313"/>
                  </a:cubicBezTo>
                  <a:cubicBezTo>
                    <a:pt x="9" y="356"/>
                    <a:pt x="19" y="399"/>
                    <a:pt x="34" y="439"/>
                  </a:cubicBezTo>
                  <a:close/>
                  <a:moveTo>
                    <a:pt x="1368" y="369"/>
                  </a:moveTo>
                  <a:cubicBezTo>
                    <a:pt x="1262" y="324"/>
                    <a:pt x="1161" y="281"/>
                    <a:pt x="1070" y="243"/>
                  </a:cubicBezTo>
                  <a:lnTo>
                    <a:pt x="1067" y="241"/>
                  </a:lnTo>
                  <a:cubicBezTo>
                    <a:pt x="990" y="209"/>
                    <a:pt x="920" y="179"/>
                    <a:pt x="859" y="154"/>
                  </a:cubicBezTo>
                  <a:cubicBezTo>
                    <a:pt x="842" y="95"/>
                    <a:pt x="811" y="43"/>
                    <a:pt x="771" y="0"/>
                  </a:cubicBezTo>
                  <a:cubicBezTo>
                    <a:pt x="808" y="15"/>
                    <a:pt x="850" y="33"/>
                    <a:pt x="897" y="53"/>
                  </a:cubicBezTo>
                  <a:cubicBezTo>
                    <a:pt x="930" y="98"/>
                    <a:pt x="982" y="122"/>
                    <a:pt x="1035" y="122"/>
                  </a:cubicBezTo>
                  <a:cubicBezTo>
                    <a:pt x="1043" y="122"/>
                    <a:pt x="1050" y="122"/>
                    <a:pt x="1058" y="121"/>
                  </a:cubicBezTo>
                  <a:cubicBezTo>
                    <a:pt x="1098" y="138"/>
                    <a:pt x="1139" y="155"/>
                    <a:pt x="1182" y="173"/>
                  </a:cubicBezTo>
                  <a:cubicBezTo>
                    <a:pt x="1243" y="199"/>
                    <a:pt x="1307" y="226"/>
                    <a:pt x="1374" y="254"/>
                  </a:cubicBezTo>
                  <a:cubicBezTo>
                    <a:pt x="1374" y="256"/>
                    <a:pt x="1374" y="257"/>
                    <a:pt x="1374" y="259"/>
                  </a:cubicBezTo>
                  <a:cubicBezTo>
                    <a:pt x="1374" y="296"/>
                    <a:pt x="1372" y="333"/>
                    <a:pt x="1368" y="369"/>
                  </a:cubicBezTo>
                  <a:lnTo>
                    <a:pt x="1368" y="369"/>
                  </a:lnTo>
                </a:path>
              </a:pathLst>
            </a:custGeom>
            <a:solidFill>
              <a:srgbClr val="9D9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63">
              <a:extLst>
                <a:ext uri="{FF2B5EF4-FFF2-40B4-BE49-F238E27FC236}">
                  <a16:creationId xmlns:a16="http://schemas.microsoft.com/office/drawing/2014/main" id="{FB1DB71A-A021-4891-5A5B-7144BCC94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16550" y="2320925"/>
              <a:ext cx="171450" cy="122238"/>
            </a:xfrm>
            <a:custGeom>
              <a:avLst/>
              <a:gdLst>
                <a:gd name="T0" fmla="*/ 362 w 379"/>
                <a:gd name="T1" fmla="*/ 268 h 268"/>
                <a:gd name="T2" fmla="*/ 313 w 379"/>
                <a:gd name="T3" fmla="*/ 248 h 268"/>
                <a:gd name="T4" fmla="*/ 157 w 379"/>
                <a:gd name="T5" fmla="*/ 182 h 268"/>
                <a:gd name="T6" fmla="*/ 31 w 379"/>
                <a:gd name="T7" fmla="*/ 128 h 268"/>
                <a:gd name="T8" fmla="*/ 0 w 379"/>
                <a:gd name="T9" fmla="*/ 115 h 268"/>
                <a:gd name="T10" fmla="*/ 0 w 379"/>
                <a:gd name="T11" fmla="*/ 115 h 268"/>
                <a:gd name="T12" fmla="*/ 0 w 379"/>
                <a:gd name="T13" fmla="*/ 115 h 268"/>
                <a:gd name="T14" fmla="*/ 6 w 379"/>
                <a:gd name="T15" fmla="*/ 5 h 268"/>
                <a:gd name="T16" fmla="*/ 6 w 379"/>
                <a:gd name="T17" fmla="*/ 0 h 268"/>
                <a:gd name="T18" fmla="*/ 379 w 379"/>
                <a:gd name="T19" fmla="*/ 159 h 268"/>
                <a:gd name="T20" fmla="*/ 377 w 379"/>
                <a:gd name="T21" fmla="*/ 182 h 268"/>
                <a:gd name="T22" fmla="*/ 376 w 379"/>
                <a:gd name="T23" fmla="*/ 198 h 268"/>
                <a:gd name="T24" fmla="*/ 362 w 379"/>
                <a:gd name="T25" fmla="*/ 268 h 268"/>
                <a:gd name="T26" fmla="*/ 362 w 379"/>
                <a:gd name="T2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9" h="268">
                  <a:moveTo>
                    <a:pt x="362" y="268"/>
                  </a:moveTo>
                  <a:cubicBezTo>
                    <a:pt x="345" y="262"/>
                    <a:pt x="329" y="255"/>
                    <a:pt x="313" y="248"/>
                  </a:cubicBezTo>
                  <a:cubicBezTo>
                    <a:pt x="260" y="225"/>
                    <a:pt x="208" y="203"/>
                    <a:pt x="157" y="182"/>
                  </a:cubicBezTo>
                  <a:cubicBezTo>
                    <a:pt x="114" y="163"/>
                    <a:pt x="72" y="145"/>
                    <a:pt x="31" y="128"/>
                  </a:cubicBezTo>
                  <a:cubicBezTo>
                    <a:pt x="20" y="124"/>
                    <a:pt x="10" y="119"/>
                    <a:pt x="0" y="115"/>
                  </a:cubicBezTo>
                  <a:lnTo>
                    <a:pt x="0" y="115"/>
                  </a:lnTo>
                  <a:lnTo>
                    <a:pt x="0" y="115"/>
                  </a:lnTo>
                  <a:cubicBezTo>
                    <a:pt x="4" y="79"/>
                    <a:pt x="6" y="42"/>
                    <a:pt x="6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125" y="51"/>
                    <a:pt x="251" y="105"/>
                    <a:pt x="379" y="159"/>
                  </a:cubicBezTo>
                  <a:cubicBezTo>
                    <a:pt x="379" y="167"/>
                    <a:pt x="378" y="174"/>
                    <a:pt x="377" y="182"/>
                  </a:cubicBezTo>
                  <a:cubicBezTo>
                    <a:pt x="377" y="187"/>
                    <a:pt x="376" y="193"/>
                    <a:pt x="376" y="198"/>
                  </a:cubicBezTo>
                  <a:cubicBezTo>
                    <a:pt x="372" y="222"/>
                    <a:pt x="367" y="245"/>
                    <a:pt x="362" y="268"/>
                  </a:cubicBezTo>
                  <a:lnTo>
                    <a:pt x="362" y="268"/>
                  </a:lnTo>
                  <a:close/>
                </a:path>
              </a:pathLst>
            </a:custGeom>
            <a:solidFill>
              <a:srgbClr val="76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64">
              <a:extLst>
                <a:ext uri="{FF2B5EF4-FFF2-40B4-BE49-F238E27FC236}">
                  <a16:creationId xmlns:a16="http://schemas.microsoft.com/office/drawing/2014/main" id="{69F5920D-5966-AADD-D103-74BDF7DFA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5463" y="2632075"/>
              <a:ext cx="219075" cy="93663"/>
            </a:xfrm>
            <a:custGeom>
              <a:avLst/>
              <a:gdLst>
                <a:gd name="T0" fmla="*/ 453 w 484"/>
                <a:gd name="T1" fmla="*/ 207 h 207"/>
                <a:gd name="T2" fmla="*/ 230 w 484"/>
                <a:gd name="T3" fmla="*/ 147 h 207"/>
                <a:gd name="T4" fmla="*/ 67 w 484"/>
                <a:gd name="T5" fmla="*/ 103 h 207"/>
                <a:gd name="T6" fmla="*/ 44 w 484"/>
                <a:gd name="T7" fmla="*/ 97 h 207"/>
                <a:gd name="T8" fmla="*/ 1 w 484"/>
                <a:gd name="T9" fmla="*/ 85 h 207"/>
                <a:gd name="T10" fmla="*/ 0 w 484"/>
                <a:gd name="T11" fmla="*/ 85 h 207"/>
                <a:gd name="T12" fmla="*/ 15 w 484"/>
                <a:gd name="T13" fmla="*/ 75 h 207"/>
                <a:gd name="T14" fmla="*/ 17 w 484"/>
                <a:gd name="T15" fmla="*/ 75 h 207"/>
                <a:gd name="T16" fmla="*/ 39 w 484"/>
                <a:gd name="T17" fmla="*/ 60 h 207"/>
                <a:gd name="T18" fmla="*/ 43 w 484"/>
                <a:gd name="T19" fmla="*/ 57 h 207"/>
                <a:gd name="T20" fmla="*/ 87 w 484"/>
                <a:gd name="T21" fmla="*/ 24 h 207"/>
                <a:gd name="T22" fmla="*/ 89 w 484"/>
                <a:gd name="T23" fmla="*/ 23 h 207"/>
                <a:gd name="T24" fmla="*/ 111 w 484"/>
                <a:gd name="T25" fmla="*/ 4 h 207"/>
                <a:gd name="T26" fmla="*/ 111 w 484"/>
                <a:gd name="T27" fmla="*/ 4 h 207"/>
                <a:gd name="T28" fmla="*/ 116 w 484"/>
                <a:gd name="T29" fmla="*/ 0 h 207"/>
                <a:gd name="T30" fmla="*/ 432 w 484"/>
                <a:gd name="T31" fmla="*/ 85 h 207"/>
                <a:gd name="T32" fmla="*/ 442 w 484"/>
                <a:gd name="T33" fmla="*/ 99 h 207"/>
                <a:gd name="T34" fmla="*/ 442 w 484"/>
                <a:gd name="T35" fmla="*/ 99 h 207"/>
                <a:gd name="T36" fmla="*/ 484 w 484"/>
                <a:gd name="T37" fmla="*/ 169 h 207"/>
                <a:gd name="T38" fmla="*/ 484 w 484"/>
                <a:gd name="T39" fmla="*/ 169 h 207"/>
                <a:gd name="T40" fmla="*/ 470 w 484"/>
                <a:gd name="T41" fmla="*/ 187 h 207"/>
                <a:gd name="T42" fmla="*/ 466 w 484"/>
                <a:gd name="T43" fmla="*/ 191 h 207"/>
                <a:gd name="T44" fmla="*/ 466 w 484"/>
                <a:gd name="T45" fmla="*/ 191 h 207"/>
                <a:gd name="T46" fmla="*/ 457 w 484"/>
                <a:gd name="T47" fmla="*/ 202 h 207"/>
                <a:gd name="T48" fmla="*/ 457 w 484"/>
                <a:gd name="T49" fmla="*/ 202 h 207"/>
                <a:gd name="T50" fmla="*/ 453 w 484"/>
                <a:gd name="T51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4" h="207">
                  <a:moveTo>
                    <a:pt x="453" y="207"/>
                  </a:moveTo>
                  <a:cubicBezTo>
                    <a:pt x="377" y="187"/>
                    <a:pt x="303" y="167"/>
                    <a:pt x="230" y="147"/>
                  </a:cubicBezTo>
                  <a:cubicBezTo>
                    <a:pt x="175" y="132"/>
                    <a:pt x="120" y="117"/>
                    <a:pt x="67" y="103"/>
                  </a:cubicBezTo>
                  <a:cubicBezTo>
                    <a:pt x="59" y="101"/>
                    <a:pt x="51" y="99"/>
                    <a:pt x="44" y="97"/>
                  </a:cubicBezTo>
                  <a:cubicBezTo>
                    <a:pt x="29" y="93"/>
                    <a:pt x="15" y="89"/>
                    <a:pt x="1" y="85"/>
                  </a:cubicBezTo>
                  <a:lnTo>
                    <a:pt x="0" y="85"/>
                  </a:lnTo>
                  <a:cubicBezTo>
                    <a:pt x="5" y="82"/>
                    <a:pt x="10" y="79"/>
                    <a:pt x="15" y="75"/>
                  </a:cubicBezTo>
                  <a:cubicBezTo>
                    <a:pt x="16" y="75"/>
                    <a:pt x="16" y="75"/>
                    <a:pt x="17" y="75"/>
                  </a:cubicBezTo>
                  <a:cubicBezTo>
                    <a:pt x="24" y="70"/>
                    <a:pt x="31" y="65"/>
                    <a:pt x="39" y="60"/>
                  </a:cubicBezTo>
                  <a:cubicBezTo>
                    <a:pt x="40" y="59"/>
                    <a:pt x="41" y="58"/>
                    <a:pt x="43" y="57"/>
                  </a:cubicBezTo>
                  <a:cubicBezTo>
                    <a:pt x="58" y="46"/>
                    <a:pt x="73" y="35"/>
                    <a:pt x="87" y="24"/>
                  </a:cubicBezTo>
                  <a:cubicBezTo>
                    <a:pt x="88" y="24"/>
                    <a:pt x="88" y="23"/>
                    <a:pt x="89" y="23"/>
                  </a:cubicBezTo>
                  <a:cubicBezTo>
                    <a:pt x="96" y="17"/>
                    <a:pt x="104" y="10"/>
                    <a:pt x="111" y="4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13" y="2"/>
                    <a:pt x="115" y="1"/>
                    <a:pt x="116" y="0"/>
                  </a:cubicBezTo>
                  <a:cubicBezTo>
                    <a:pt x="217" y="27"/>
                    <a:pt x="323" y="55"/>
                    <a:pt x="432" y="85"/>
                  </a:cubicBezTo>
                  <a:cubicBezTo>
                    <a:pt x="435" y="89"/>
                    <a:pt x="438" y="94"/>
                    <a:pt x="442" y="99"/>
                  </a:cubicBezTo>
                  <a:lnTo>
                    <a:pt x="442" y="99"/>
                  </a:lnTo>
                  <a:cubicBezTo>
                    <a:pt x="457" y="122"/>
                    <a:pt x="472" y="145"/>
                    <a:pt x="484" y="169"/>
                  </a:cubicBezTo>
                  <a:lnTo>
                    <a:pt x="484" y="169"/>
                  </a:lnTo>
                  <a:cubicBezTo>
                    <a:pt x="479" y="175"/>
                    <a:pt x="475" y="181"/>
                    <a:pt x="470" y="187"/>
                  </a:cubicBezTo>
                  <a:cubicBezTo>
                    <a:pt x="469" y="188"/>
                    <a:pt x="468" y="190"/>
                    <a:pt x="466" y="191"/>
                  </a:cubicBezTo>
                  <a:lnTo>
                    <a:pt x="466" y="191"/>
                  </a:lnTo>
                  <a:cubicBezTo>
                    <a:pt x="463" y="195"/>
                    <a:pt x="460" y="199"/>
                    <a:pt x="457" y="202"/>
                  </a:cubicBezTo>
                  <a:lnTo>
                    <a:pt x="457" y="202"/>
                  </a:lnTo>
                  <a:cubicBezTo>
                    <a:pt x="456" y="204"/>
                    <a:pt x="454" y="205"/>
                    <a:pt x="453" y="207"/>
                  </a:cubicBezTo>
                </a:path>
              </a:pathLst>
            </a:custGeom>
            <a:solidFill>
              <a:srgbClr val="8F9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65">
              <a:extLst>
                <a:ext uri="{FF2B5EF4-FFF2-40B4-BE49-F238E27FC236}">
                  <a16:creationId xmlns:a16="http://schemas.microsoft.com/office/drawing/2014/main" id="{459330D9-864A-7B89-ACAC-FA5C6E0E40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43600" y="2827337"/>
              <a:ext cx="60325" cy="74613"/>
            </a:xfrm>
            <a:custGeom>
              <a:avLst/>
              <a:gdLst>
                <a:gd name="T0" fmla="*/ 134 w 134"/>
                <a:gd name="T1" fmla="*/ 162 h 162"/>
                <a:gd name="T2" fmla="*/ 87 w 134"/>
                <a:gd name="T3" fmla="*/ 156 h 162"/>
                <a:gd name="T4" fmla="*/ 97 w 134"/>
                <a:gd name="T5" fmla="*/ 157 h 162"/>
                <a:gd name="T6" fmla="*/ 122 w 134"/>
                <a:gd name="T7" fmla="*/ 160 h 162"/>
                <a:gd name="T8" fmla="*/ 134 w 134"/>
                <a:gd name="T9" fmla="*/ 162 h 162"/>
                <a:gd name="T10" fmla="*/ 76 w 134"/>
                <a:gd name="T11" fmla="*/ 154 h 162"/>
                <a:gd name="T12" fmla="*/ 10 w 134"/>
                <a:gd name="T13" fmla="*/ 139 h 162"/>
                <a:gd name="T14" fmla="*/ 7 w 134"/>
                <a:gd name="T15" fmla="*/ 120 h 162"/>
                <a:gd name="T16" fmla="*/ 10 w 134"/>
                <a:gd name="T17" fmla="*/ 139 h 162"/>
                <a:gd name="T18" fmla="*/ 24 w 134"/>
                <a:gd name="T19" fmla="*/ 143 h 162"/>
                <a:gd name="T20" fmla="*/ 35 w 134"/>
                <a:gd name="T21" fmla="*/ 146 h 162"/>
                <a:gd name="T22" fmla="*/ 50 w 134"/>
                <a:gd name="T23" fmla="*/ 150 h 162"/>
                <a:gd name="T24" fmla="*/ 72 w 134"/>
                <a:gd name="T25" fmla="*/ 154 h 162"/>
                <a:gd name="T26" fmla="*/ 76 w 134"/>
                <a:gd name="T27" fmla="*/ 154 h 162"/>
                <a:gd name="T28" fmla="*/ 7 w 134"/>
                <a:gd name="T29" fmla="*/ 119 h 162"/>
                <a:gd name="T30" fmla="*/ 5 w 134"/>
                <a:gd name="T31" fmla="*/ 100 h 162"/>
                <a:gd name="T32" fmla="*/ 5 w 134"/>
                <a:gd name="T33" fmla="*/ 101 h 162"/>
                <a:gd name="T34" fmla="*/ 7 w 134"/>
                <a:gd name="T35" fmla="*/ 119 h 162"/>
                <a:gd name="T36" fmla="*/ 5 w 134"/>
                <a:gd name="T37" fmla="*/ 98 h 162"/>
                <a:gd name="T38" fmla="*/ 3 w 134"/>
                <a:gd name="T39" fmla="*/ 87 h 162"/>
                <a:gd name="T40" fmla="*/ 5 w 134"/>
                <a:gd name="T41" fmla="*/ 98 h 162"/>
                <a:gd name="T42" fmla="*/ 3 w 134"/>
                <a:gd name="T43" fmla="*/ 81 h 162"/>
                <a:gd name="T44" fmla="*/ 2 w 134"/>
                <a:gd name="T45" fmla="*/ 55 h 162"/>
                <a:gd name="T46" fmla="*/ 2 w 134"/>
                <a:gd name="T47" fmla="*/ 67 h 162"/>
                <a:gd name="T48" fmla="*/ 3 w 134"/>
                <a:gd name="T49" fmla="*/ 81 h 162"/>
                <a:gd name="T50" fmla="*/ 1 w 134"/>
                <a:gd name="T51" fmla="*/ 33 h 162"/>
                <a:gd name="T52" fmla="*/ 0 w 134"/>
                <a:gd name="T53" fmla="*/ 0 h 162"/>
                <a:gd name="T54" fmla="*/ 1 w 134"/>
                <a:gd name="T55" fmla="*/ 23 h 162"/>
                <a:gd name="T56" fmla="*/ 1 w 134"/>
                <a:gd name="T57" fmla="*/ 3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4" h="162">
                  <a:moveTo>
                    <a:pt x="134" y="162"/>
                  </a:moveTo>
                  <a:cubicBezTo>
                    <a:pt x="118" y="160"/>
                    <a:pt x="102" y="158"/>
                    <a:pt x="87" y="156"/>
                  </a:cubicBezTo>
                  <a:cubicBezTo>
                    <a:pt x="90" y="156"/>
                    <a:pt x="93" y="157"/>
                    <a:pt x="97" y="157"/>
                  </a:cubicBezTo>
                  <a:cubicBezTo>
                    <a:pt x="105" y="158"/>
                    <a:pt x="113" y="159"/>
                    <a:pt x="122" y="160"/>
                  </a:cubicBezTo>
                  <a:cubicBezTo>
                    <a:pt x="126" y="161"/>
                    <a:pt x="130" y="161"/>
                    <a:pt x="134" y="162"/>
                  </a:cubicBezTo>
                  <a:moveTo>
                    <a:pt x="76" y="154"/>
                  </a:moveTo>
                  <a:cubicBezTo>
                    <a:pt x="54" y="151"/>
                    <a:pt x="32" y="146"/>
                    <a:pt x="10" y="139"/>
                  </a:cubicBezTo>
                  <a:cubicBezTo>
                    <a:pt x="9" y="133"/>
                    <a:pt x="8" y="126"/>
                    <a:pt x="7" y="120"/>
                  </a:cubicBezTo>
                  <a:cubicBezTo>
                    <a:pt x="8" y="126"/>
                    <a:pt x="9" y="133"/>
                    <a:pt x="10" y="139"/>
                  </a:cubicBezTo>
                  <a:cubicBezTo>
                    <a:pt x="15" y="140"/>
                    <a:pt x="19" y="142"/>
                    <a:pt x="24" y="143"/>
                  </a:cubicBezTo>
                  <a:cubicBezTo>
                    <a:pt x="28" y="144"/>
                    <a:pt x="32" y="145"/>
                    <a:pt x="35" y="146"/>
                  </a:cubicBezTo>
                  <a:cubicBezTo>
                    <a:pt x="40" y="147"/>
                    <a:pt x="45" y="148"/>
                    <a:pt x="50" y="150"/>
                  </a:cubicBezTo>
                  <a:cubicBezTo>
                    <a:pt x="57" y="151"/>
                    <a:pt x="64" y="152"/>
                    <a:pt x="72" y="154"/>
                  </a:cubicBezTo>
                  <a:cubicBezTo>
                    <a:pt x="73" y="154"/>
                    <a:pt x="75" y="154"/>
                    <a:pt x="76" y="154"/>
                  </a:cubicBezTo>
                  <a:moveTo>
                    <a:pt x="7" y="119"/>
                  </a:moveTo>
                  <a:cubicBezTo>
                    <a:pt x="6" y="113"/>
                    <a:pt x="5" y="106"/>
                    <a:pt x="5" y="100"/>
                  </a:cubicBezTo>
                  <a:lnTo>
                    <a:pt x="5" y="101"/>
                  </a:lnTo>
                  <a:cubicBezTo>
                    <a:pt x="5" y="107"/>
                    <a:pt x="6" y="113"/>
                    <a:pt x="7" y="119"/>
                  </a:cubicBezTo>
                  <a:close/>
                  <a:moveTo>
                    <a:pt x="5" y="98"/>
                  </a:moveTo>
                  <a:cubicBezTo>
                    <a:pt x="4" y="94"/>
                    <a:pt x="4" y="90"/>
                    <a:pt x="3" y="87"/>
                  </a:cubicBezTo>
                  <a:cubicBezTo>
                    <a:pt x="4" y="91"/>
                    <a:pt x="4" y="94"/>
                    <a:pt x="5" y="98"/>
                  </a:cubicBezTo>
                  <a:close/>
                  <a:moveTo>
                    <a:pt x="3" y="81"/>
                  </a:moveTo>
                  <a:cubicBezTo>
                    <a:pt x="2" y="72"/>
                    <a:pt x="2" y="63"/>
                    <a:pt x="2" y="55"/>
                  </a:cubicBezTo>
                  <a:cubicBezTo>
                    <a:pt x="2" y="59"/>
                    <a:pt x="2" y="63"/>
                    <a:pt x="2" y="67"/>
                  </a:cubicBezTo>
                  <a:cubicBezTo>
                    <a:pt x="2" y="72"/>
                    <a:pt x="3" y="76"/>
                    <a:pt x="3" y="81"/>
                  </a:cubicBezTo>
                  <a:close/>
                  <a:moveTo>
                    <a:pt x="1" y="33"/>
                  </a:moveTo>
                  <a:cubicBezTo>
                    <a:pt x="1" y="22"/>
                    <a:pt x="0" y="11"/>
                    <a:pt x="0" y="0"/>
                  </a:cubicBezTo>
                  <a:cubicBezTo>
                    <a:pt x="0" y="8"/>
                    <a:pt x="1" y="15"/>
                    <a:pt x="1" y="23"/>
                  </a:cubicBezTo>
                  <a:cubicBezTo>
                    <a:pt x="1" y="26"/>
                    <a:pt x="1" y="29"/>
                    <a:pt x="1" y="33"/>
                  </a:cubicBezTo>
                  <a:close/>
                </a:path>
              </a:pathLst>
            </a:custGeom>
            <a:solidFill>
              <a:srgbClr val="21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66">
              <a:extLst>
                <a:ext uri="{FF2B5EF4-FFF2-40B4-BE49-F238E27FC236}">
                  <a16:creationId xmlns:a16="http://schemas.microsoft.com/office/drawing/2014/main" id="{3B5E67DC-8360-47F9-16BF-3681F6972D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65825" y="2786062"/>
              <a:ext cx="22225" cy="30163"/>
            </a:xfrm>
            <a:custGeom>
              <a:avLst/>
              <a:gdLst>
                <a:gd name="T0" fmla="*/ 51 w 51"/>
                <a:gd name="T1" fmla="*/ 64 h 64"/>
                <a:gd name="T2" fmla="*/ 51 w 51"/>
                <a:gd name="T3" fmla="*/ 55 h 64"/>
                <a:gd name="T4" fmla="*/ 51 w 51"/>
                <a:gd name="T5" fmla="*/ 64 h 64"/>
                <a:gd name="T6" fmla="*/ 50 w 51"/>
                <a:gd name="T7" fmla="*/ 45 h 64"/>
                <a:gd name="T8" fmla="*/ 50 w 51"/>
                <a:gd name="T9" fmla="*/ 33 h 64"/>
                <a:gd name="T10" fmla="*/ 50 w 51"/>
                <a:gd name="T11" fmla="*/ 45 h 64"/>
                <a:gd name="T12" fmla="*/ 9 w 51"/>
                <a:gd name="T13" fmla="*/ 3 h 64"/>
                <a:gd name="T14" fmla="*/ 0 w 51"/>
                <a:gd name="T15" fmla="*/ 0 h 64"/>
                <a:gd name="T16" fmla="*/ 9 w 51"/>
                <a:gd name="T17" fmla="*/ 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64">
                  <a:moveTo>
                    <a:pt x="51" y="64"/>
                  </a:moveTo>
                  <a:cubicBezTo>
                    <a:pt x="51" y="61"/>
                    <a:pt x="51" y="58"/>
                    <a:pt x="51" y="55"/>
                  </a:cubicBezTo>
                  <a:cubicBezTo>
                    <a:pt x="51" y="58"/>
                    <a:pt x="51" y="61"/>
                    <a:pt x="51" y="64"/>
                  </a:cubicBezTo>
                  <a:close/>
                  <a:moveTo>
                    <a:pt x="50" y="45"/>
                  </a:moveTo>
                  <a:cubicBezTo>
                    <a:pt x="50" y="41"/>
                    <a:pt x="50" y="37"/>
                    <a:pt x="50" y="33"/>
                  </a:cubicBezTo>
                  <a:cubicBezTo>
                    <a:pt x="50" y="37"/>
                    <a:pt x="50" y="41"/>
                    <a:pt x="50" y="45"/>
                  </a:cubicBezTo>
                  <a:close/>
                  <a:moveTo>
                    <a:pt x="9" y="3"/>
                  </a:moveTo>
                  <a:cubicBezTo>
                    <a:pt x="6" y="2"/>
                    <a:pt x="3" y="1"/>
                    <a:pt x="0" y="0"/>
                  </a:cubicBezTo>
                  <a:cubicBezTo>
                    <a:pt x="3" y="1"/>
                    <a:pt x="6" y="2"/>
                    <a:pt x="9" y="3"/>
                  </a:cubicBezTo>
                  <a:close/>
                </a:path>
              </a:pathLst>
            </a:custGeom>
            <a:solidFill>
              <a:srgbClr val="5450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67">
              <a:extLst>
                <a:ext uri="{FF2B5EF4-FFF2-40B4-BE49-F238E27FC236}">
                  <a16:creationId xmlns:a16="http://schemas.microsoft.com/office/drawing/2014/main" id="{A2B8F5CA-3FA6-A085-FCE4-71AF6D7198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78525" y="2590800"/>
              <a:ext cx="136525" cy="193675"/>
            </a:xfrm>
            <a:custGeom>
              <a:avLst/>
              <a:gdLst>
                <a:gd name="T0" fmla="*/ 10 w 302"/>
                <a:gd name="T1" fmla="*/ 426 h 426"/>
                <a:gd name="T2" fmla="*/ 0 w 302"/>
                <a:gd name="T3" fmla="*/ 424 h 426"/>
                <a:gd name="T4" fmla="*/ 10 w 302"/>
                <a:gd name="T5" fmla="*/ 426 h 426"/>
                <a:gd name="T6" fmla="*/ 286 w 302"/>
                <a:gd name="T7" fmla="*/ 207 h 426"/>
                <a:gd name="T8" fmla="*/ 286 w 302"/>
                <a:gd name="T9" fmla="*/ 207 h 426"/>
                <a:gd name="T10" fmla="*/ 192 w 302"/>
                <a:gd name="T11" fmla="*/ 54 h 426"/>
                <a:gd name="T12" fmla="*/ 200 w 302"/>
                <a:gd name="T13" fmla="*/ 0 h 426"/>
                <a:gd name="T14" fmla="*/ 200 w 302"/>
                <a:gd name="T15" fmla="*/ 0 h 426"/>
                <a:gd name="T16" fmla="*/ 302 w 302"/>
                <a:gd name="T17" fmla="*/ 30 h 426"/>
                <a:gd name="T18" fmla="*/ 302 w 302"/>
                <a:gd name="T19" fmla="*/ 30 h 426"/>
                <a:gd name="T20" fmla="*/ 286 w 302"/>
                <a:gd name="T21" fmla="*/ 207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2" h="426">
                  <a:moveTo>
                    <a:pt x="10" y="426"/>
                  </a:moveTo>
                  <a:cubicBezTo>
                    <a:pt x="7" y="426"/>
                    <a:pt x="4" y="425"/>
                    <a:pt x="0" y="424"/>
                  </a:cubicBezTo>
                  <a:cubicBezTo>
                    <a:pt x="4" y="425"/>
                    <a:pt x="7" y="425"/>
                    <a:pt x="10" y="426"/>
                  </a:cubicBezTo>
                  <a:close/>
                  <a:moveTo>
                    <a:pt x="286" y="207"/>
                  </a:moveTo>
                  <a:cubicBezTo>
                    <a:pt x="286" y="207"/>
                    <a:pt x="286" y="207"/>
                    <a:pt x="286" y="207"/>
                  </a:cubicBezTo>
                  <a:cubicBezTo>
                    <a:pt x="230" y="179"/>
                    <a:pt x="192" y="121"/>
                    <a:pt x="192" y="54"/>
                  </a:cubicBezTo>
                  <a:cubicBezTo>
                    <a:pt x="192" y="35"/>
                    <a:pt x="195" y="17"/>
                    <a:pt x="200" y="0"/>
                  </a:cubicBezTo>
                  <a:lnTo>
                    <a:pt x="200" y="0"/>
                  </a:lnTo>
                  <a:cubicBezTo>
                    <a:pt x="225" y="8"/>
                    <a:pt x="259" y="18"/>
                    <a:pt x="302" y="30"/>
                  </a:cubicBezTo>
                  <a:cubicBezTo>
                    <a:pt x="302" y="30"/>
                    <a:pt x="302" y="30"/>
                    <a:pt x="302" y="30"/>
                  </a:cubicBezTo>
                  <a:lnTo>
                    <a:pt x="286" y="207"/>
                  </a:lnTo>
                </a:path>
              </a:pathLst>
            </a:custGeom>
            <a:solidFill>
              <a:srgbClr val="21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68">
              <a:extLst>
                <a:ext uri="{FF2B5EF4-FFF2-40B4-BE49-F238E27FC236}">
                  <a16:creationId xmlns:a16="http://schemas.microsoft.com/office/drawing/2014/main" id="{33718425-712B-8C48-F373-3BD74F31E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2175" y="2551112"/>
              <a:ext cx="122238" cy="177800"/>
            </a:xfrm>
            <a:custGeom>
              <a:avLst/>
              <a:gdLst>
                <a:gd name="T0" fmla="*/ 262 w 271"/>
                <a:gd name="T1" fmla="*/ 390 h 390"/>
                <a:gd name="T2" fmla="*/ 262 w 271"/>
                <a:gd name="T3" fmla="*/ 390 h 390"/>
                <a:gd name="T4" fmla="*/ 135 w 271"/>
                <a:gd name="T5" fmla="*/ 368 h 390"/>
                <a:gd name="T6" fmla="*/ 18 w 271"/>
                <a:gd name="T7" fmla="*/ 331 h 390"/>
                <a:gd name="T8" fmla="*/ 0 w 271"/>
                <a:gd name="T9" fmla="*/ 323 h 390"/>
                <a:gd name="T10" fmla="*/ 30 w 271"/>
                <a:gd name="T11" fmla="*/ 0 h 390"/>
                <a:gd name="T12" fmla="*/ 54 w 271"/>
                <a:gd name="T13" fmla="*/ 20 h 390"/>
                <a:gd name="T14" fmla="*/ 153 w 271"/>
                <a:gd name="T15" fmla="*/ 75 h 390"/>
                <a:gd name="T16" fmla="*/ 161 w 271"/>
                <a:gd name="T17" fmla="*/ 78 h 390"/>
                <a:gd name="T18" fmla="*/ 185 w 271"/>
                <a:gd name="T19" fmla="*/ 86 h 390"/>
                <a:gd name="T20" fmla="*/ 177 w 271"/>
                <a:gd name="T21" fmla="*/ 140 h 390"/>
                <a:gd name="T22" fmla="*/ 271 w 271"/>
                <a:gd name="T23" fmla="*/ 293 h 390"/>
                <a:gd name="T24" fmla="*/ 271 w 271"/>
                <a:gd name="T25" fmla="*/ 293 h 390"/>
                <a:gd name="T26" fmla="*/ 262 w 271"/>
                <a:gd name="T27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390">
                  <a:moveTo>
                    <a:pt x="262" y="390"/>
                  </a:moveTo>
                  <a:lnTo>
                    <a:pt x="262" y="390"/>
                  </a:lnTo>
                  <a:cubicBezTo>
                    <a:pt x="219" y="386"/>
                    <a:pt x="176" y="378"/>
                    <a:pt x="135" y="368"/>
                  </a:cubicBezTo>
                  <a:cubicBezTo>
                    <a:pt x="95" y="358"/>
                    <a:pt x="56" y="346"/>
                    <a:pt x="18" y="331"/>
                  </a:cubicBezTo>
                  <a:cubicBezTo>
                    <a:pt x="12" y="328"/>
                    <a:pt x="6" y="326"/>
                    <a:pt x="0" y="323"/>
                  </a:cubicBezTo>
                  <a:lnTo>
                    <a:pt x="30" y="0"/>
                  </a:lnTo>
                  <a:cubicBezTo>
                    <a:pt x="38" y="7"/>
                    <a:pt x="46" y="13"/>
                    <a:pt x="54" y="20"/>
                  </a:cubicBezTo>
                  <a:cubicBezTo>
                    <a:pt x="85" y="44"/>
                    <a:pt x="118" y="62"/>
                    <a:pt x="153" y="75"/>
                  </a:cubicBezTo>
                  <a:cubicBezTo>
                    <a:pt x="156" y="76"/>
                    <a:pt x="158" y="77"/>
                    <a:pt x="161" y="78"/>
                  </a:cubicBezTo>
                  <a:cubicBezTo>
                    <a:pt x="168" y="80"/>
                    <a:pt x="176" y="83"/>
                    <a:pt x="185" y="86"/>
                  </a:cubicBezTo>
                  <a:cubicBezTo>
                    <a:pt x="180" y="103"/>
                    <a:pt x="177" y="121"/>
                    <a:pt x="177" y="140"/>
                  </a:cubicBezTo>
                  <a:cubicBezTo>
                    <a:pt x="177" y="207"/>
                    <a:pt x="215" y="265"/>
                    <a:pt x="271" y="293"/>
                  </a:cubicBezTo>
                  <a:cubicBezTo>
                    <a:pt x="271" y="293"/>
                    <a:pt x="271" y="293"/>
                    <a:pt x="271" y="293"/>
                  </a:cubicBezTo>
                  <a:lnTo>
                    <a:pt x="262" y="390"/>
                  </a:lnTo>
                </a:path>
              </a:pathLst>
            </a:custGeom>
            <a:solidFill>
              <a:srgbClr val="BDBD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9">
              <a:extLst>
                <a:ext uri="{FF2B5EF4-FFF2-40B4-BE49-F238E27FC236}">
                  <a16:creationId xmlns:a16="http://schemas.microsoft.com/office/drawing/2014/main" id="{DD79403D-A066-6786-C467-CA1050D96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0113" y="2698750"/>
              <a:ext cx="125413" cy="204788"/>
            </a:xfrm>
            <a:custGeom>
              <a:avLst/>
              <a:gdLst>
                <a:gd name="T0" fmla="*/ 242 w 278"/>
                <a:gd name="T1" fmla="*/ 448 h 448"/>
                <a:gd name="T2" fmla="*/ 242 w 278"/>
                <a:gd name="T3" fmla="*/ 448 h 448"/>
                <a:gd name="T4" fmla="*/ 215 w 278"/>
                <a:gd name="T5" fmla="*/ 445 h 448"/>
                <a:gd name="T6" fmla="*/ 203 w 278"/>
                <a:gd name="T7" fmla="*/ 443 h 448"/>
                <a:gd name="T8" fmla="*/ 178 w 278"/>
                <a:gd name="T9" fmla="*/ 440 h 448"/>
                <a:gd name="T10" fmla="*/ 168 w 278"/>
                <a:gd name="T11" fmla="*/ 439 h 448"/>
                <a:gd name="T12" fmla="*/ 157 w 278"/>
                <a:gd name="T13" fmla="*/ 437 h 448"/>
                <a:gd name="T14" fmla="*/ 153 w 278"/>
                <a:gd name="T15" fmla="*/ 437 h 448"/>
                <a:gd name="T16" fmla="*/ 131 w 278"/>
                <a:gd name="T17" fmla="*/ 433 h 448"/>
                <a:gd name="T18" fmla="*/ 116 w 278"/>
                <a:gd name="T19" fmla="*/ 429 h 448"/>
                <a:gd name="T20" fmla="*/ 105 w 278"/>
                <a:gd name="T21" fmla="*/ 426 h 448"/>
                <a:gd name="T22" fmla="*/ 91 w 278"/>
                <a:gd name="T23" fmla="*/ 422 h 448"/>
                <a:gd name="T24" fmla="*/ 88 w 278"/>
                <a:gd name="T25" fmla="*/ 403 h 448"/>
                <a:gd name="T26" fmla="*/ 88 w 278"/>
                <a:gd name="T27" fmla="*/ 402 h 448"/>
                <a:gd name="T28" fmla="*/ 86 w 278"/>
                <a:gd name="T29" fmla="*/ 384 h 448"/>
                <a:gd name="T30" fmla="*/ 86 w 278"/>
                <a:gd name="T31" fmla="*/ 383 h 448"/>
                <a:gd name="T32" fmla="*/ 86 w 278"/>
                <a:gd name="T33" fmla="*/ 381 h 448"/>
                <a:gd name="T34" fmla="*/ 84 w 278"/>
                <a:gd name="T35" fmla="*/ 370 h 448"/>
                <a:gd name="T36" fmla="*/ 84 w 278"/>
                <a:gd name="T37" fmla="*/ 364 h 448"/>
                <a:gd name="T38" fmla="*/ 83 w 278"/>
                <a:gd name="T39" fmla="*/ 350 h 448"/>
                <a:gd name="T40" fmla="*/ 83 w 278"/>
                <a:gd name="T41" fmla="*/ 338 h 448"/>
                <a:gd name="T42" fmla="*/ 82 w 278"/>
                <a:gd name="T43" fmla="*/ 316 h 448"/>
                <a:gd name="T44" fmla="*/ 82 w 278"/>
                <a:gd name="T45" fmla="*/ 306 h 448"/>
                <a:gd name="T46" fmla="*/ 81 w 278"/>
                <a:gd name="T47" fmla="*/ 283 h 448"/>
                <a:gd name="T48" fmla="*/ 81 w 278"/>
                <a:gd name="T49" fmla="*/ 258 h 448"/>
                <a:gd name="T50" fmla="*/ 81 w 278"/>
                <a:gd name="T51" fmla="*/ 249 h 448"/>
                <a:gd name="T52" fmla="*/ 80 w 278"/>
                <a:gd name="T53" fmla="*/ 239 h 448"/>
                <a:gd name="T54" fmla="*/ 80 w 278"/>
                <a:gd name="T55" fmla="*/ 227 h 448"/>
                <a:gd name="T56" fmla="*/ 79 w 278"/>
                <a:gd name="T57" fmla="*/ 215 h 448"/>
                <a:gd name="T58" fmla="*/ 79 w 278"/>
                <a:gd name="T59" fmla="*/ 215 h 448"/>
                <a:gd name="T60" fmla="*/ 79 w 278"/>
                <a:gd name="T61" fmla="*/ 215 h 448"/>
                <a:gd name="T62" fmla="*/ 39 w 278"/>
                <a:gd name="T63" fmla="*/ 197 h 448"/>
                <a:gd name="T64" fmla="*/ 30 w 278"/>
                <a:gd name="T65" fmla="*/ 194 h 448"/>
                <a:gd name="T66" fmla="*/ 11 w 278"/>
                <a:gd name="T67" fmla="*/ 189 h 448"/>
                <a:gd name="T68" fmla="*/ 1 w 278"/>
                <a:gd name="T69" fmla="*/ 187 h 448"/>
                <a:gd name="T70" fmla="*/ 0 w 278"/>
                <a:gd name="T71" fmla="*/ 187 h 448"/>
                <a:gd name="T72" fmla="*/ 0 w 278"/>
                <a:gd name="T73" fmla="*/ 187 h 448"/>
                <a:gd name="T74" fmla="*/ 16 w 278"/>
                <a:gd name="T75" fmla="*/ 0 h 448"/>
                <a:gd name="T76" fmla="*/ 34 w 278"/>
                <a:gd name="T77" fmla="*/ 8 h 448"/>
                <a:gd name="T78" fmla="*/ 151 w 278"/>
                <a:gd name="T79" fmla="*/ 45 h 448"/>
                <a:gd name="T80" fmla="*/ 278 w 278"/>
                <a:gd name="T81" fmla="*/ 67 h 448"/>
                <a:gd name="T82" fmla="*/ 278 w 278"/>
                <a:gd name="T83" fmla="*/ 67 h 448"/>
                <a:gd name="T84" fmla="*/ 244 w 278"/>
                <a:gd name="T85" fmla="*/ 443 h 448"/>
                <a:gd name="T86" fmla="*/ 244 w 278"/>
                <a:gd name="T87" fmla="*/ 443 h 448"/>
                <a:gd name="T88" fmla="*/ 242 w 278"/>
                <a:gd name="T8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8" h="448">
                  <a:moveTo>
                    <a:pt x="242" y="448"/>
                  </a:moveTo>
                  <a:lnTo>
                    <a:pt x="242" y="448"/>
                  </a:lnTo>
                  <a:cubicBezTo>
                    <a:pt x="233" y="447"/>
                    <a:pt x="224" y="446"/>
                    <a:pt x="215" y="445"/>
                  </a:cubicBezTo>
                  <a:cubicBezTo>
                    <a:pt x="211" y="444"/>
                    <a:pt x="207" y="444"/>
                    <a:pt x="203" y="443"/>
                  </a:cubicBezTo>
                  <a:cubicBezTo>
                    <a:pt x="194" y="442"/>
                    <a:pt x="186" y="441"/>
                    <a:pt x="178" y="440"/>
                  </a:cubicBezTo>
                  <a:cubicBezTo>
                    <a:pt x="174" y="440"/>
                    <a:pt x="171" y="439"/>
                    <a:pt x="168" y="439"/>
                  </a:cubicBezTo>
                  <a:cubicBezTo>
                    <a:pt x="164" y="438"/>
                    <a:pt x="160" y="438"/>
                    <a:pt x="157" y="437"/>
                  </a:cubicBezTo>
                  <a:cubicBezTo>
                    <a:pt x="156" y="437"/>
                    <a:pt x="154" y="437"/>
                    <a:pt x="153" y="437"/>
                  </a:cubicBezTo>
                  <a:cubicBezTo>
                    <a:pt x="145" y="435"/>
                    <a:pt x="138" y="434"/>
                    <a:pt x="131" y="433"/>
                  </a:cubicBezTo>
                  <a:cubicBezTo>
                    <a:pt x="126" y="431"/>
                    <a:pt x="121" y="430"/>
                    <a:pt x="116" y="429"/>
                  </a:cubicBezTo>
                  <a:cubicBezTo>
                    <a:pt x="113" y="428"/>
                    <a:pt x="109" y="427"/>
                    <a:pt x="105" y="426"/>
                  </a:cubicBezTo>
                  <a:cubicBezTo>
                    <a:pt x="100" y="425"/>
                    <a:pt x="96" y="423"/>
                    <a:pt x="91" y="422"/>
                  </a:cubicBezTo>
                  <a:cubicBezTo>
                    <a:pt x="90" y="416"/>
                    <a:pt x="89" y="409"/>
                    <a:pt x="88" y="403"/>
                  </a:cubicBezTo>
                  <a:cubicBezTo>
                    <a:pt x="88" y="403"/>
                    <a:pt x="88" y="402"/>
                    <a:pt x="88" y="402"/>
                  </a:cubicBezTo>
                  <a:cubicBezTo>
                    <a:pt x="87" y="396"/>
                    <a:pt x="86" y="390"/>
                    <a:pt x="86" y="384"/>
                  </a:cubicBezTo>
                  <a:lnTo>
                    <a:pt x="86" y="383"/>
                  </a:lnTo>
                  <a:cubicBezTo>
                    <a:pt x="86" y="382"/>
                    <a:pt x="86" y="382"/>
                    <a:pt x="86" y="381"/>
                  </a:cubicBezTo>
                  <a:cubicBezTo>
                    <a:pt x="85" y="377"/>
                    <a:pt x="85" y="374"/>
                    <a:pt x="84" y="370"/>
                  </a:cubicBezTo>
                  <a:cubicBezTo>
                    <a:pt x="84" y="368"/>
                    <a:pt x="84" y="366"/>
                    <a:pt x="84" y="364"/>
                  </a:cubicBezTo>
                  <a:cubicBezTo>
                    <a:pt x="84" y="359"/>
                    <a:pt x="83" y="355"/>
                    <a:pt x="83" y="350"/>
                  </a:cubicBezTo>
                  <a:cubicBezTo>
                    <a:pt x="83" y="346"/>
                    <a:pt x="83" y="342"/>
                    <a:pt x="83" y="338"/>
                  </a:cubicBezTo>
                  <a:cubicBezTo>
                    <a:pt x="82" y="330"/>
                    <a:pt x="82" y="323"/>
                    <a:pt x="82" y="316"/>
                  </a:cubicBezTo>
                  <a:cubicBezTo>
                    <a:pt x="82" y="312"/>
                    <a:pt x="82" y="309"/>
                    <a:pt x="82" y="306"/>
                  </a:cubicBezTo>
                  <a:cubicBezTo>
                    <a:pt x="82" y="298"/>
                    <a:pt x="81" y="291"/>
                    <a:pt x="81" y="283"/>
                  </a:cubicBezTo>
                  <a:cubicBezTo>
                    <a:pt x="81" y="274"/>
                    <a:pt x="81" y="266"/>
                    <a:pt x="81" y="258"/>
                  </a:cubicBezTo>
                  <a:cubicBezTo>
                    <a:pt x="81" y="255"/>
                    <a:pt x="81" y="252"/>
                    <a:pt x="81" y="249"/>
                  </a:cubicBezTo>
                  <a:cubicBezTo>
                    <a:pt x="81" y="245"/>
                    <a:pt x="81" y="242"/>
                    <a:pt x="80" y="239"/>
                  </a:cubicBezTo>
                  <a:cubicBezTo>
                    <a:pt x="80" y="235"/>
                    <a:pt x="80" y="231"/>
                    <a:pt x="80" y="227"/>
                  </a:cubicBezTo>
                  <a:cubicBezTo>
                    <a:pt x="80" y="223"/>
                    <a:pt x="80" y="219"/>
                    <a:pt x="79" y="215"/>
                  </a:cubicBezTo>
                  <a:lnTo>
                    <a:pt x="79" y="215"/>
                  </a:lnTo>
                  <a:lnTo>
                    <a:pt x="79" y="215"/>
                  </a:lnTo>
                  <a:cubicBezTo>
                    <a:pt x="66" y="208"/>
                    <a:pt x="52" y="202"/>
                    <a:pt x="39" y="197"/>
                  </a:cubicBezTo>
                  <a:cubicBezTo>
                    <a:pt x="36" y="196"/>
                    <a:pt x="33" y="195"/>
                    <a:pt x="30" y="194"/>
                  </a:cubicBezTo>
                  <a:cubicBezTo>
                    <a:pt x="24" y="193"/>
                    <a:pt x="18" y="191"/>
                    <a:pt x="11" y="189"/>
                  </a:cubicBezTo>
                  <a:cubicBezTo>
                    <a:pt x="8" y="188"/>
                    <a:pt x="5" y="188"/>
                    <a:pt x="1" y="187"/>
                  </a:cubicBezTo>
                  <a:cubicBezTo>
                    <a:pt x="1" y="187"/>
                    <a:pt x="0" y="187"/>
                    <a:pt x="0" y="187"/>
                  </a:cubicBezTo>
                  <a:lnTo>
                    <a:pt x="0" y="187"/>
                  </a:lnTo>
                  <a:lnTo>
                    <a:pt x="16" y="0"/>
                  </a:lnTo>
                  <a:cubicBezTo>
                    <a:pt x="22" y="3"/>
                    <a:pt x="28" y="5"/>
                    <a:pt x="34" y="8"/>
                  </a:cubicBezTo>
                  <a:cubicBezTo>
                    <a:pt x="72" y="23"/>
                    <a:pt x="111" y="35"/>
                    <a:pt x="151" y="45"/>
                  </a:cubicBezTo>
                  <a:cubicBezTo>
                    <a:pt x="192" y="55"/>
                    <a:pt x="235" y="63"/>
                    <a:pt x="278" y="67"/>
                  </a:cubicBezTo>
                  <a:lnTo>
                    <a:pt x="278" y="67"/>
                  </a:lnTo>
                  <a:lnTo>
                    <a:pt x="244" y="443"/>
                  </a:lnTo>
                  <a:lnTo>
                    <a:pt x="244" y="443"/>
                  </a:lnTo>
                  <a:cubicBezTo>
                    <a:pt x="243" y="445"/>
                    <a:pt x="243" y="446"/>
                    <a:pt x="242" y="448"/>
                  </a:cubicBezTo>
                </a:path>
              </a:pathLst>
            </a:custGeom>
            <a:solidFill>
              <a:srgbClr val="8E9F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0">
              <a:extLst>
                <a:ext uri="{FF2B5EF4-FFF2-40B4-BE49-F238E27FC236}">
                  <a16:creationId xmlns:a16="http://schemas.microsoft.com/office/drawing/2014/main" id="{2D4CD32F-29B9-E8F1-CEF9-45A4E3751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9625" y="2547937"/>
              <a:ext cx="50800" cy="55563"/>
            </a:xfrm>
            <a:custGeom>
              <a:avLst/>
              <a:gdLst>
                <a:gd name="T0" fmla="*/ 102 w 112"/>
                <a:gd name="T1" fmla="*/ 124 h 124"/>
                <a:gd name="T2" fmla="*/ 102 w 112"/>
                <a:gd name="T3" fmla="*/ 124 h 124"/>
                <a:gd name="T4" fmla="*/ 0 w 112"/>
                <a:gd name="T5" fmla="*/ 94 h 124"/>
                <a:gd name="T6" fmla="*/ 0 w 112"/>
                <a:gd name="T7" fmla="*/ 94 h 124"/>
                <a:gd name="T8" fmla="*/ 0 w 112"/>
                <a:gd name="T9" fmla="*/ 94 h 124"/>
                <a:gd name="T10" fmla="*/ 77 w 112"/>
                <a:gd name="T11" fmla="*/ 0 h 124"/>
                <a:gd name="T12" fmla="*/ 112 w 112"/>
                <a:gd name="T13" fmla="*/ 10 h 124"/>
                <a:gd name="T14" fmla="*/ 102 w 112"/>
                <a:gd name="T1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24">
                  <a:moveTo>
                    <a:pt x="102" y="124"/>
                  </a:moveTo>
                  <a:cubicBezTo>
                    <a:pt x="102" y="124"/>
                    <a:pt x="102" y="124"/>
                    <a:pt x="102" y="124"/>
                  </a:cubicBezTo>
                  <a:cubicBezTo>
                    <a:pt x="59" y="112"/>
                    <a:pt x="25" y="102"/>
                    <a:pt x="0" y="94"/>
                  </a:cubicBezTo>
                  <a:lnTo>
                    <a:pt x="0" y="94"/>
                  </a:lnTo>
                  <a:lnTo>
                    <a:pt x="0" y="94"/>
                  </a:lnTo>
                  <a:cubicBezTo>
                    <a:pt x="14" y="54"/>
                    <a:pt x="41" y="21"/>
                    <a:pt x="77" y="0"/>
                  </a:cubicBezTo>
                  <a:cubicBezTo>
                    <a:pt x="88" y="3"/>
                    <a:pt x="100" y="7"/>
                    <a:pt x="112" y="10"/>
                  </a:cubicBezTo>
                  <a:lnTo>
                    <a:pt x="102" y="124"/>
                  </a:lnTo>
                  <a:close/>
                </a:path>
              </a:pathLst>
            </a:custGeom>
            <a:solidFill>
              <a:srgbClr val="1A16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1">
              <a:extLst>
                <a:ext uri="{FF2B5EF4-FFF2-40B4-BE49-F238E27FC236}">
                  <a16:creationId xmlns:a16="http://schemas.microsoft.com/office/drawing/2014/main" id="{F28AC890-E887-3E51-923D-87BCF4152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59475" y="2501900"/>
              <a:ext cx="104775" cy="88900"/>
            </a:xfrm>
            <a:custGeom>
              <a:avLst/>
              <a:gdLst>
                <a:gd name="T0" fmla="*/ 155 w 232"/>
                <a:gd name="T1" fmla="*/ 194 h 194"/>
                <a:gd name="T2" fmla="*/ 131 w 232"/>
                <a:gd name="T3" fmla="*/ 186 h 194"/>
                <a:gd name="T4" fmla="*/ 123 w 232"/>
                <a:gd name="T5" fmla="*/ 183 h 194"/>
                <a:gd name="T6" fmla="*/ 24 w 232"/>
                <a:gd name="T7" fmla="*/ 128 h 194"/>
                <a:gd name="T8" fmla="*/ 0 w 232"/>
                <a:gd name="T9" fmla="*/ 108 h 194"/>
                <a:gd name="T10" fmla="*/ 9 w 232"/>
                <a:gd name="T11" fmla="*/ 0 h 194"/>
                <a:gd name="T12" fmla="*/ 69 w 232"/>
                <a:gd name="T13" fmla="*/ 41 h 194"/>
                <a:gd name="T14" fmla="*/ 69 w 232"/>
                <a:gd name="T15" fmla="*/ 43 h 194"/>
                <a:gd name="T16" fmla="*/ 191 w 232"/>
                <a:gd name="T17" fmla="*/ 88 h 194"/>
                <a:gd name="T18" fmla="*/ 232 w 232"/>
                <a:gd name="T19" fmla="*/ 100 h 194"/>
                <a:gd name="T20" fmla="*/ 155 w 232"/>
                <a:gd name="T21" fmla="*/ 194 h 194"/>
                <a:gd name="T22" fmla="*/ 155 w 232"/>
                <a:gd name="T23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2" h="194">
                  <a:moveTo>
                    <a:pt x="155" y="194"/>
                  </a:moveTo>
                  <a:cubicBezTo>
                    <a:pt x="146" y="191"/>
                    <a:pt x="138" y="188"/>
                    <a:pt x="131" y="186"/>
                  </a:cubicBezTo>
                  <a:cubicBezTo>
                    <a:pt x="128" y="185"/>
                    <a:pt x="126" y="184"/>
                    <a:pt x="123" y="183"/>
                  </a:cubicBezTo>
                  <a:cubicBezTo>
                    <a:pt x="88" y="170"/>
                    <a:pt x="55" y="152"/>
                    <a:pt x="24" y="128"/>
                  </a:cubicBezTo>
                  <a:cubicBezTo>
                    <a:pt x="16" y="121"/>
                    <a:pt x="8" y="115"/>
                    <a:pt x="0" y="108"/>
                  </a:cubicBezTo>
                  <a:lnTo>
                    <a:pt x="9" y="0"/>
                  </a:lnTo>
                  <a:cubicBezTo>
                    <a:pt x="28" y="15"/>
                    <a:pt x="48" y="29"/>
                    <a:pt x="69" y="41"/>
                  </a:cubicBezTo>
                  <a:lnTo>
                    <a:pt x="69" y="43"/>
                  </a:lnTo>
                  <a:cubicBezTo>
                    <a:pt x="96" y="63"/>
                    <a:pt x="141" y="78"/>
                    <a:pt x="191" y="88"/>
                  </a:cubicBezTo>
                  <a:cubicBezTo>
                    <a:pt x="203" y="92"/>
                    <a:pt x="217" y="96"/>
                    <a:pt x="232" y="100"/>
                  </a:cubicBezTo>
                  <a:cubicBezTo>
                    <a:pt x="196" y="121"/>
                    <a:pt x="169" y="154"/>
                    <a:pt x="155" y="194"/>
                  </a:cubicBezTo>
                  <a:lnTo>
                    <a:pt x="155" y="194"/>
                  </a:lnTo>
                </a:path>
              </a:pathLst>
            </a:custGeom>
            <a:solidFill>
              <a:srgbClr val="7879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">
              <a:extLst>
                <a:ext uri="{FF2B5EF4-FFF2-40B4-BE49-F238E27FC236}">
                  <a16:creationId xmlns:a16="http://schemas.microsoft.com/office/drawing/2014/main" id="{703371B0-40EF-FA71-2B0E-75283D6765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0500" y="3076575"/>
              <a:ext cx="411163" cy="419100"/>
            </a:xfrm>
            <a:custGeom>
              <a:avLst/>
              <a:gdLst>
                <a:gd name="T0" fmla="*/ 662 w 908"/>
                <a:gd name="T1" fmla="*/ 363 h 920"/>
                <a:gd name="T2" fmla="*/ 636 w 908"/>
                <a:gd name="T3" fmla="*/ 338 h 920"/>
                <a:gd name="T4" fmla="*/ 657 w 908"/>
                <a:gd name="T5" fmla="*/ 223 h 920"/>
                <a:gd name="T6" fmla="*/ 754 w 908"/>
                <a:gd name="T7" fmla="*/ 359 h 920"/>
                <a:gd name="T8" fmla="*/ 341 w 908"/>
                <a:gd name="T9" fmla="*/ 156 h 920"/>
                <a:gd name="T10" fmla="*/ 348 w 908"/>
                <a:gd name="T11" fmla="*/ 131 h 920"/>
                <a:gd name="T12" fmla="*/ 508 w 908"/>
                <a:gd name="T13" fmla="*/ 156 h 920"/>
                <a:gd name="T14" fmla="*/ 454 w 908"/>
                <a:gd name="T15" fmla="*/ 243 h 920"/>
                <a:gd name="T16" fmla="*/ 433 w 908"/>
                <a:gd name="T17" fmla="*/ 248 h 920"/>
                <a:gd name="T18" fmla="*/ 341 w 908"/>
                <a:gd name="T19" fmla="*/ 164 h 920"/>
                <a:gd name="T20" fmla="*/ 91 w 908"/>
                <a:gd name="T21" fmla="*/ 335 h 920"/>
                <a:gd name="T22" fmla="*/ 95 w 908"/>
                <a:gd name="T23" fmla="*/ 318 h 920"/>
                <a:gd name="T24" fmla="*/ 209 w 908"/>
                <a:gd name="T25" fmla="*/ 268 h 920"/>
                <a:gd name="T26" fmla="*/ 229 w 908"/>
                <a:gd name="T27" fmla="*/ 408 h 920"/>
                <a:gd name="T28" fmla="*/ 219 w 908"/>
                <a:gd name="T29" fmla="*/ 415 h 920"/>
                <a:gd name="T30" fmla="*/ 209 w 908"/>
                <a:gd name="T31" fmla="*/ 421 h 920"/>
                <a:gd name="T32" fmla="*/ 91 w 908"/>
                <a:gd name="T33" fmla="*/ 343 h 920"/>
                <a:gd name="T34" fmla="*/ 137 w 908"/>
                <a:gd name="T35" fmla="*/ 700 h 920"/>
                <a:gd name="T36" fmla="*/ 156 w 908"/>
                <a:gd name="T37" fmla="*/ 583 h 920"/>
                <a:gd name="T38" fmla="*/ 243 w 908"/>
                <a:gd name="T39" fmla="*/ 577 h 920"/>
                <a:gd name="T40" fmla="*/ 254 w 908"/>
                <a:gd name="T41" fmla="*/ 719 h 920"/>
                <a:gd name="T42" fmla="*/ 137 w 908"/>
                <a:gd name="T43" fmla="*/ 700 h 920"/>
                <a:gd name="T44" fmla="*/ 403 w 908"/>
                <a:gd name="T45" fmla="*/ 787 h 920"/>
                <a:gd name="T46" fmla="*/ 451 w 908"/>
                <a:gd name="T47" fmla="*/ 702 h 920"/>
                <a:gd name="T48" fmla="*/ 460 w 908"/>
                <a:gd name="T49" fmla="*/ 699 h 920"/>
                <a:gd name="T50" fmla="*/ 478 w 908"/>
                <a:gd name="T51" fmla="*/ 695 h 920"/>
                <a:gd name="T52" fmla="*/ 569 w 908"/>
                <a:gd name="T53" fmla="*/ 770 h 920"/>
                <a:gd name="T54" fmla="*/ 569 w 908"/>
                <a:gd name="T55" fmla="*/ 789 h 920"/>
                <a:gd name="T56" fmla="*/ 563 w 908"/>
                <a:gd name="T57" fmla="*/ 810 h 920"/>
                <a:gd name="T58" fmla="*/ 494 w 908"/>
                <a:gd name="T59" fmla="*/ 862 h 920"/>
                <a:gd name="T60" fmla="*/ 813 w 908"/>
                <a:gd name="T61" fmla="*/ 633 h 920"/>
                <a:gd name="T62" fmla="*/ 668 w 908"/>
                <a:gd name="T63" fmla="*/ 646 h 920"/>
                <a:gd name="T64" fmla="*/ 715 w 908"/>
                <a:gd name="T65" fmla="*/ 517 h 920"/>
                <a:gd name="T66" fmla="*/ 813 w 908"/>
                <a:gd name="T67" fmla="*/ 633 h 920"/>
                <a:gd name="T68" fmla="*/ 410 w 908"/>
                <a:gd name="T69" fmla="*/ 25 h 920"/>
                <a:gd name="T70" fmla="*/ 306 w 908"/>
                <a:gd name="T71" fmla="*/ 48 h 920"/>
                <a:gd name="T72" fmla="*/ 8 w 908"/>
                <a:gd name="T73" fmla="*/ 516 h 920"/>
                <a:gd name="T74" fmla="*/ 107 w 908"/>
                <a:gd name="T75" fmla="*/ 755 h 920"/>
                <a:gd name="T76" fmla="*/ 443 w 908"/>
                <a:gd name="T77" fmla="*/ 920 h 920"/>
                <a:gd name="T78" fmla="*/ 515 w 908"/>
                <a:gd name="T79" fmla="*/ 916 h 920"/>
                <a:gd name="T80" fmla="*/ 878 w 908"/>
                <a:gd name="T81" fmla="*/ 62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8" h="920">
                  <a:moveTo>
                    <a:pt x="663" y="363"/>
                  </a:moveTo>
                  <a:lnTo>
                    <a:pt x="662" y="363"/>
                  </a:lnTo>
                  <a:cubicBezTo>
                    <a:pt x="652" y="357"/>
                    <a:pt x="644" y="350"/>
                    <a:pt x="638" y="340"/>
                  </a:cubicBezTo>
                  <a:lnTo>
                    <a:pt x="636" y="338"/>
                  </a:lnTo>
                  <a:lnTo>
                    <a:pt x="636" y="338"/>
                  </a:lnTo>
                  <a:cubicBezTo>
                    <a:pt x="611" y="300"/>
                    <a:pt x="620" y="250"/>
                    <a:pt x="657" y="223"/>
                  </a:cubicBezTo>
                  <a:cubicBezTo>
                    <a:pt x="694" y="196"/>
                    <a:pt x="747" y="205"/>
                    <a:pt x="774" y="243"/>
                  </a:cubicBezTo>
                  <a:cubicBezTo>
                    <a:pt x="801" y="280"/>
                    <a:pt x="792" y="332"/>
                    <a:pt x="754" y="359"/>
                  </a:cubicBezTo>
                  <a:cubicBezTo>
                    <a:pt x="727" y="379"/>
                    <a:pt x="690" y="380"/>
                    <a:pt x="663" y="363"/>
                  </a:cubicBezTo>
                  <a:close/>
                  <a:moveTo>
                    <a:pt x="341" y="156"/>
                  </a:moveTo>
                  <a:cubicBezTo>
                    <a:pt x="342" y="151"/>
                    <a:pt x="343" y="145"/>
                    <a:pt x="344" y="140"/>
                  </a:cubicBezTo>
                  <a:cubicBezTo>
                    <a:pt x="345" y="137"/>
                    <a:pt x="347" y="134"/>
                    <a:pt x="348" y="131"/>
                  </a:cubicBezTo>
                  <a:cubicBezTo>
                    <a:pt x="359" y="104"/>
                    <a:pt x="385" y="84"/>
                    <a:pt x="416" y="81"/>
                  </a:cubicBezTo>
                  <a:cubicBezTo>
                    <a:pt x="462" y="77"/>
                    <a:pt x="503" y="110"/>
                    <a:pt x="508" y="156"/>
                  </a:cubicBezTo>
                  <a:cubicBezTo>
                    <a:pt x="511" y="192"/>
                    <a:pt x="492" y="225"/>
                    <a:pt x="462" y="239"/>
                  </a:cubicBezTo>
                  <a:cubicBezTo>
                    <a:pt x="459" y="241"/>
                    <a:pt x="456" y="242"/>
                    <a:pt x="454" y="243"/>
                  </a:cubicBezTo>
                  <a:cubicBezTo>
                    <a:pt x="451" y="244"/>
                    <a:pt x="449" y="244"/>
                    <a:pt x="447" y="245"/>
                  </a:cubicBezTo>
                  <a:cubicBezTo>
                    <a:pt x="442" y="246"/>
                    <a:pt x="438" y="247"/>
                    <a:pt x="433" y="248"/>
                  </a:cubicBezTo>
                  <a:cubicBezTo>
                    <a:pt x="387" y="252"/>
                    <a:pt x="346" y="219"/>
                    <a:pt x="341" y="173"/>
                  </a:cubicBezTo>
                  <a:cubicBezTo>
                    <a:pt x="341" y="170"/>
                    <a:pt x="341" y="167"/>
                    <a:pt x="341" y="164"/>
                  </a:cubicBezTo>
                  <a:cubicBezTo>
                    <a:pt x="341" y="162"/>
                    <a:pt x="341" y="159"/>
                    <a:pt x="341" y="156"/>
                  </a:cubicBezTo>
                  <a:close/>
                  <a:moveTo>
                    <a:pt x="91" y="335"/>
                  </a:moveTo>
                  <a:cubicBezTo>
                    <a:pt x="91" y="332"/>
                    <a:pt x="92" y="330"/>
                    <a:pt x="92" y="327"/>
                  </a:cubicBezTo>
                  <a:cubicBezTo>
                    <a:pt x="93" y="324"/>
                    <a:pt x="94" y="321"/>
                    <a:pt x="95" y="318"/>
                  </a:cubicBezTo>
                  <a:cubicBezTo>
                    <a:pt x="95" y="316"/>
                    <a:pt x="97" y="313"/>
                    <a:pt x="98" y="310"/>
                  </a:cubicBezTo>
                  <a:cubicBezTo>
                    <a:pt x="117" y="268"/>
                    <a:pt x="166" y="249"/>
                    <a:pt x="209" y="268"/>
                  </a:cubicBezTo>
                  <a:cubicBezTo>
                    <a:pt x="251" y="287"/>
                    <a:pt x="269" y="337"/>
                    <a:pt x="250" y="379"/>
                  </a:cubicBezTo>
                  <a:cubicBezTo>
                    <a:pt x="245" y="391"/>
                    <a:pt x="238" y="400"/>
                    <a:pt x="229" y="408"/>
                  </a:cubicBezTo>
                  <a:cubicBezTo>
                    <a:pt x="226" y="411"/>
                    <a:pt x="222" y="413"/>
                    <a:pt x="219" y="415"/>
                  </a:cubicBezTo>
                  <a:lnTo>
                    <a:pt x="219" y="415"/>
                  </a:lnTo>
                  <a:cubicBezTo>
                    <a:pt x="216" y="417"/>
                    <a:pt x="212" y="419"/>
                    <a:pt x="209" y="421"/>
                  </a:cubicBezTo>
                  <a:lnTo>
                    <a:pt x="209" y="421"/>
                  </a:lnTo>
                  <a:cubicBezTo>
                    <a:pt x="187" y="430"/>
                    <a:pt x="162" y="431"/>
                    <a:pt x="140" y="421"/>
                  </a:cubicBezTo>
                  <a:cubicBezTo>
                    <a:pt x="108" y="406"/>
                    <a:pt x="90" y="375"/>
                    <a:pt x="91" y="343"/>
                  </a:cubicBezTo>
                  <a:cubicBezTo>
                    <a:pt x="91" y="340"/>
                    <a:pt x="91" y="338"/>
                    <a:pt x="91" y="335"/>
                  </a:cubicBezTo>
                  <a:moveTo>
                    <a:pt x="137" y="700"/>
                  </a:moveTo>
                  <a:cubicBezTo>
                    <a:pt x="135" y="698"/>
                    <a:pt x="133" y="695"/>
                    <a:pt x="132" y="693"/>
                  </a:cubicBezTo>
                  <a:cubicBezTo>
                    <a:pt x="111" y="656"/>
                    <a:pt x="121" y="609"/>
                    <a:pt x="156" y="583"/>
                  </a:cubicBezTo>
                  <a:cubicBezTo>
                    <a:pt x="164" y="578"/>
                    <a:pt x="173" y="573"/>
                    <a:pt x="182" y="571"/>
                  </a:cubicBezTo>
                  <a:cubicBezTo>
                    <a:pt x="202" y="565"/>
                    <a:pt x="224" y="567"/>
                    <a:pt x="243" y="577"/>
                  </a:cubicBezTo>
                  <a:cubicBezTo>
                    <a:pt x="254" y="583"/>
                    <a:pt x="265" y="591"/>
                    <a:pt x="273" y="603"/>
                  </a:cubicBezTo>
                  <a:cubicBezTo>
                    <a:pt x="300" y="640"/>
                    <a:pt x="291" y="692"/>
                    <a:pt x="254" y="719"/>
                  </a:cubicBezTo>
                  <a:cubicBezTo>
                    <a:pt x="231" y="735"/>
                    <a:pt x="204" y="739"/>
                    <a:pt x="180" y="731"/>
                  </a:cubicBezTo>
                  <a:cubicBezTo>
                    <a:pt x="163" y="726"/>
                    <a:pt x="148" y="716"/>
                    <a:pt x="137" y="700"/>
                  </a:cubicBezTo>
                  <a:moveTo>
                    <a:pt x="477" y="861"/>
                  </a:moveTo>
                  <a:cubicBezTo>
                    <a:pt x="438" y="857"/>
                    <a:pt x="406" y="827"/>
                    <a:pt x="403" y="787"/>
                  </a:cubicBezTo>
                  <a:cubicBezTo>
                    <a:pt x="399" y="753"/>
                    <a:pt x="416" y="722"/>
                    <a:pt x="444" y="706"/>
                  </a:cubicBezTo>
                  <a:cubicBezTo>
                    <a:pt x="447" y="704"/>
                    <a:pt x="449" y="703"/>
                    <a:pt x="451" y="702"/>
                  </a:cubicBezTo>
                  <a:lnTo>
                    <a:pt x="453" y="702"/>
                  </a:lnTo>
                  <a:cubicBezTo>
                    <a:pt x="455" y="700"/>
                    <a:pt x="457" y="699"/>
                    <a:pt x="460" y="699"/>
                  </a:cubicBezTo>
                  <a:cubicBezTo>
                    <a:pt x="462" y="698"/>
                    <a:pt x="464" y="697"/>
                    <a:pt x="467" y="697"/>
                  </a:cubicBezTo>
                  <a:cubicBezTo>
                    <a:pt x="470" y="696"/>
                    <a:pt x="474" y="695"/>
                    <a:pt x="478" y="695"/>
                  </a:cubicBezTo>
                  <a:cubicBezTo>
                    <a:pt x="508" y="692"/>
                    <a:pt x="536" y="706"/>
                    <a:pt x="553" y="729"/>
                  </a:cubicBezTo>
                  <a:cubicBezTo>
                    <a:pt x="562" y="740"/>
                    <a:pt x="568" y="754"/>
                    <a:pt x="569" y="770"/>
                  </a:cubicBezTo>
                  <a:cubicBezTo>
                    <a:pt x="570" y="775"/>
                    <a:pt x="570" y="780"/>
                    <a:pt x="569" y="785"/>
                  </a:cubicBezTo>
                  <a:lnTo>
                    <a:pt x="569" y="789"/>
                  </a:lnTo>
                  <a:cubicBezTo>
                    <a:pt x="568" y="793"/>
                    <a:pt x="568" y="797"/>
                    <a:pt x="567" y="800"/>
                  </a:cubicBezTo>
                  <a:cubicBezTo>
                    <a:pt x="566" y="804"/>
                    <a:pt x="564" y="807"/>
                    <a:pt x="563" y="810"/>
                  </a:cubicBezTo>
                  <a:cubicBezTo>
                    <a:pt x="562" y="814"/>
                    <a:pt x="560" y="817"/>
                    <a:pt x="558" y="820"/>
                  </a:cubicBezTo>
                  <a:cubicBezTo>
                    <a:pt x="545" y="843"/>
                    <a:pt x="522" y="859"/>
                    <a:pt x="494" y="862"/>
                  </a:cubicBezTo>
                  <a:cubicBezTo>
                    <a:pt x="488" y="862"/>
                    <a:pt x="482" y="862"/>
                    <a:pt x="477" y="861"/>
                  </a:cubicBezTo>
                  <a:moveTo>
                    <a:pt x="813" y="633"/>
                  </a:moveTo>
                  <a:cubicBezTo>
                    <a:pt x="794" y="675"/>
                    <a:pt x="744" y="694"/>
                    <a:pt x="702" y="675"/>
                  </a:cubicBezTo>
                  <a:cubicBezTo>
                    <a:pt x="688" y="668"/>
                    <a:pt x="676" y="658"/>
                    <a:pt x="668" y="646"/>
                  </a:cubicBezTo>
                  <a:cubicBezTo>
                    <a:pt x="651" y="623"/>
                    <a:pt x="647" y="592"/>
                    <a:pt x="660" y="564"/>
                  </a:cubicBezTo>
                  <a:cubicBezTo>
                    <a:pt x="671" y="540"/>
                    <a:pt x="691" y="524"/>
                    <a:pt x="715" y="517"/>
                  </a:cubicBezTo>
                  <a:cubicBezTo>
                    <a:pt x="733" y="513"/>
                    <a:pt x="752" y="514"/>
                    <a:pt x="771" y="522"/>
                  </a:cubicBezTo>
                  <a:cubicBezTo>
                    <a:pt x="813" y="541"/>
                    <a:pt x="832" y="591"/>
                    <a:pt x="813" y="633"/>
                  </a:cubicBezTo>
                  <a:close/>
                  <a:moveTo>
                    <a:pt x="901" y="427"/>
                  </a:moveTo>
                  <a:cubicBezTo>
                    <a:pt x="876" y="180"/>
                    <a:pt x="657" y="0"/>
                    <a:pt x="410" y="25"/>
                  </a:cubicBezTo>
                  <a:cubicBezTo>
                    <a:pt x="374" y="28"/>
                    <a:pt x="339" y="36"/>
                    <a:pt x="306" y="48"/>
                  </a:cubicBezTo>
                  <a:lnTo>
                    <a:pt x="306" y="48"/>
                  </a:lnTo>
                  <a:cubicBezTo>
                    <a:pt x="184" y="90"/>
                    <a:pt x="87" y="184"/>
                    <a:pt x="39" y="301"/>
                  </a:cubicBezTo>
                  <a:cubicBezTo>
                    <a:pt x="12" y="367"/>
                    <a:pt x="0" y="440"/>
                    <a:pt x="8" y="516"/>
                  </a:cubicBezTo>
                  <a:cubicBezTo>
                    <a:pt x="17" y="607"/>
                    <a:pt x="53" y="689"/>
                    <a:pt x="107" y="755"/>
                  </a:cubicBezTo>
                  <a:lnTo>
                    <a:pt x="107" y="755"/>
                  </a:lnTo>
                  <a:cubicBezTo>
                    <a:pt x="121" y="772"/>
                    <a:pt x="136" y="788"/>
                    <a:pt x="152" y="802"/>
                  </a:cubicBezTo>
                  <a:cubicBezTo>
                    <a:pt x="229" y="874"/>
                    <a:pt x="332" y="917"/>
                    <a:pt x="443" y="920"/>
                  </a:cubicBezTo>
                  <a:cubicBezTo>
                    <a:pt x="462" y="920"/>
                    <a:pt x="480" y="920"/>
                    <a:pt x="499" y="918"/>
                  </a:cubicBezTo>
                  <a:cubicBezTo>
                    <a:pt x="504" y="917"/>
                    <a:pt x="510" y="917"/>
                    <a:pt x="515" y="916"/>
                  </a:cubicBezTo>
                  <a:cubicBezTo>
                    <a:pt x="553" y="911"/>
                    <a:pt x="590" y="901"/>
                    <a:pt x="625" y="887"/>
                  </a:cubicBezTo>
                  <a:cubicBezTo>
                    <a:pt x="744" y="838"/>
                    <a:pt x="836" y="740"/>
                    <a:pt x="878" y="620"/>
                  </a:cubicBezTo>
                  <a:cubicBezTo>
                    <a:pt x="899" y="560"/>
                    <a:pt x="908" y="494"/>
                    <a:pt x="901" y="427"/>
                  </a:cubicBezTo>
                </a:path>
              </a:pathLst>
            </a:custGeom>
            <a:solidFill>
              <a:srgbClr val="757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3">
              <a:extLst>
                <a:ext uri="{FF2B5EF4-FFF2-40B4-BE49-F238E27FC236}">
                  <a16:creationId xmlns:a16="http://schemas.microsoft.com/office/drawing/2014/main" id="{F6B9CBC1-AB26-33CF-78A5-8FDC9D996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43525" y="3008312"/>
              <a:ext cx="560388" cy="565150"/>
            </a:xfrm>
            <a:custGeom>
              <a:avLst/>
              <a:gdLst>
                <a:gd name="T0" fmla="*/ 1002 w 1241"/>
                <a:gd name="T1" fmla="*/ 821 h 1238"/>
                <a:gd name="T2" fmla="*/ 950 w 1241"/>
                <a:gd name="T3" fmla="*/ 899 h 1238"/>
                <a:gd name="T4" fmla="*/ 933 w 1241"/>
                <a:gd name="T5" fmla="*/ 918 h 1238"/>
                <a:gd name="T6" fmla="*/ 902 w 1241"/>
                <a:gd name="T7" fmla="*/ 947 h 1238"/>
                <a:gd name="T8" fmla="*/ 865 w 1241"/>
                <a:gd name="T9" fmla="*/ 976 h 1238"/>
                <a:gd name="T10" fmla="*/ 824 w 1241"/>
                <a:gd name="T11" fmla="*/ 1000 h 1238"/>
                <a:gd name="T12" fmla="*/ 796 w 1241"/>
                <a:gd name="T13" fmla="*/ 1014 h 1238"/>
                <a:gd name="T14" fmla="*/ 690 w 1241"/>
                <a:gd name="T15" fmla="*/ 1046 h 1238"/>
                <a:gd name="T16" fmla="*/ 323 w 1241"/>
                <a:gd name="T17" fmla="*/ 934 h 1238"/>
                <a:gd name="T18" fmla="*/ 217 w 1241"/>
                <a:gd name="T19" fmla="*/ 461 h 1238"/>
                <a:gd name="T20" fmla="*/ 234 w 1241"/>
                <a:gd name="T21" fmla="*/ 424 h 1238"/>
                <a:gd name="T22" fmla="*/ 260 w 1241"/>
                <a:gd name="T23" fmla="*/ 380 h 1238"/>
                <a:gd name="T24" fmla="*/ 276 w 1241"/>
                <a:gd name="T25" fmla="*/ 358 h 1238"/>
                <a:gd name="T26" fmla="*/ 323 w 1241"/>
                <a:gd name="T27" fmla="*/ 305 h 1238"/>
                <a:gd name="T28" fmla="*/ 375 w 1241"/>
                <a:gd name="T29" fmla="*/ 263 h 1238"/>
                <a:gd name="T30" fmla="*/ 394 w 1241"/>
                <a:gd name="T31" fmla="*/ 252 h 1238"/>
                <a:gd name="T32" fmla="*/ 406 w 1241"/>
                <a:gd name="T33" fmla="*/ 244 h 1238"/>
                <a:gd name="T34" fmla="*/ 419 w 1241"/>
                <a:gd name="T35" fmla="*/ 237 h 1238"/>
                <a:gd name="T36" fmla="*/ 462 w 1241"/>
                <a:gd name="T37" fmla="*/ 217 h 1238"/>
                <a:gd name="T38" fmla="*/ 575 w 1241"/>
                <a:gd name="T39" fmla="*/ 189 h 1238"/>
                <a:gd name="T40" fmla="*/ 1021 w 1241"/>
                <a:gd name="T41" fmla="*/ 781 h 1238"/>
                <a:gd name="T42" fmla="*/ 1141 w 1241"/>
                <a:gd name="T43" fmla="*/ 591 h 1238"/>
                <a:gd name="T44" fmla="*/ 1208 w 1241"/>
                <a:gd name="T45" fmla="*/ 426 h 1238"/>
                <a:gd name="T46" fmla="*/ 1087 w 1241"/>
                <a:gd name="T47" fmla="*/ 392 h 1238"/>
                <a:gd name="T48" fmla="*/ 1161 w 1241"/>
                <a:gd name="T49" fmla="*/ 317 h 1238"/>
                <a:gd name="T50" fmla="*/ 992 w 1241"/>
                <a:gd name="T51" fmla="*/ 256 h 1238"/>
                <a:gd name="T52" fmla="*/ 902 w 1241"/>
                <a:gd name="T53" fmla="*/ 183 h 1238"/>
                <a:gd name="T54" fmla="*/ 810 w 1241"/>
                <a:gd name="T55" fmla="*/ 30 h 1238"/>
                <a:gd name="T56" fmla="*/ 753 w 1241"/>
                <a:gd name="T57" fmla="*/ 116 h 1238"/>
                <a:gd name="T58" fmla="*/ 620 w 1241"/>
                <a:gd name="T59" fmla="*/ 0 h 1238"/>
                <a:gd name="T60" fmla="*/ 592 w 1241"/>
                <a:gd name="T61" fmla="*/ 99 h 1238"/>
                <a:gd name="T62" fmla="*/ 428 w 1241"/>
                <a:gd name="T63" fmla="*/ 31 h 1238"/>
                <a:gd name="T64" fmla="*/ 432 w 1241"/>
                <a:gd name="T65" fmla="*/ 134 h 1238"/>
                <a:gd name="T66" fmla="*/ 356 w 1241"/>
                <a:gd name="T67" fmla="*/ 116 h 1238"/>
                <a:gd name="T68" fmla="*/ 291 w 1241"/>
                <a:gd name="T69" fmla="*/ 215 h 1238"/>
                <a:gd name="T70" fmla="*/ 119 w 1241"/>
                <a:gd name="T71" fmla="*/ 259 h 1238"/>
                <a:gd name="T72" fmla="*/ 143 w 1241"/>
                <a:gd name="T73" fmla="*/ 374 h 1238"/>
                <a:gd name="T74" fmla="*/ 31 w 1241"/>
                <a:gd name="T75" fmla="*/ 430 h 1238"/>
                <a:gd name="T76" fmla="*/ 107 w 1241"/>
                <a:gd name="T77" fmla="*/ 531 h 1238"/>
                <a:gd name="T78" fmla="*/ 99 w 1241"/>
                <a:gd name="T79" fmla="*/ 648 h 1238"/>
                <a:gd name="T80" fmla="*/ 14 w 1241"/>
                <a:gd name="T81" fmla="*/ 737 h 1238"/>
                <a:gd name="T82" fmla="*/ 90 w 1241"/>
                <a:gd name="T83" fmla="*/ 810 h 1238"/>
                <a:gd name="T84" fmla="*/ 153 w 1241"/>
                <a:gd name="T85" fmla="*/ 849 h 1238"/>
                <a:gd name="T86" fmla="*/ 216 w 1241"/>
                <a:gd name="T87" fmla="*/ 948 h 1238"/>
                <a:gd name="T88" fmla="*/ 243 w 1241"/>
                <a:gd name="T89" fmla="*/ 977 h 1238"/>
                <a:gd name="T90" fmla="*/ 199 w 1241"/>
                <a:gd name="T91" fmla="*/ 1071 h 1238"/>
                <a:gd name="T92" fmla="*/ 258 w 1241"/>
                <a:gd name="T93" fmla="*/ 1122 h 1238"/>
                <a:gd name="T94" fmla="*/ 361 w 1241"/>
                <a:gd name="T95" fmla="*/ 1178 h 1238"/>
                <a:gd name="T96" fmla="*/ 532 w 1241"/>
                <a:gd name="T97" fmla="*/ 1133 h 1238"/>
                <a:gd name="T98" fmla="*/ 548 w 1241"/>
                <a:gd name="T99" fmla="*/ 1233 h 1238"/>
                <a:gd name="T100" fmla="*/ 649 w 1241"/>
                <a:gd name="T101" fmla="*/ 1140 h 1238"/>
                <a:gd name="T102" fmla="*/ 740 w 1241"/>
                <a:gd name="T103" fmla="*/ 1226 h 1238"/>
                <a:gd name="T104" fmla="*/ 807 w 1241"/>
                <a:gd name="T105" fmla="*/ 1107 h 1238"/>
                <a:gd name="T106" fmla="*/ 884 w 1241"/>
                <a:gd name="T107" fmla="*/ 1122 h 1238"/>
                <a:gd name="T108" fmla="*/ 949 w 1241"/>
                <a:gd name="T109" fmla="*/ 1024 h 1238"/>
                <a:gd name="T110" fmla="*/ 1071 w 1241"/>
                <a:gd name="T111" fmla="*/ 1039 h 1238"/>
                <a:gd name="T112" fmla="*/ 1081 w 1241"/>
                <a:gd name="T113" fmla="*/ 862 h 1238"/>
                <a:gd name="T114" fmla="*/ 1150 w 1241"/>
                <a:gd name="T115" fmla="*/ 875 h 1238"/>
                <a:gd name="T116" fmla="*/ 1209 w 1241"/>
                <a:gd name="T117" fmla="*/ 808 h 1238"/>
                <a:gd name="T118" fmla="*/ 1234 w 1241"/>
                <a:gd name="T119" fmla="*/ 692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41" h="1238">
                  <a:moveTo>
                    <a:pt x="1021" y="781"/>
                  </a:moveTo>
                  <a:cubicBezTo>
                    <a:pt x="1019" y="787"/>
                    <a:pt x="1016" y="794"/>
                    <a:pt x="1013" y="800"/>
                  </a:cubicBezTo>
                  <a:cubicBezTo>
                    <a:pt x="1010" y="807"/>
                    <a:pt x="1006" y="814"/>
                    <a:pt x="1002" y="821"/>
                  </a:cubicBezTo>
                  <a:cubicBezTo>
                    <a:pt x="999" y="828"/>
                    <a:pt x="995" y="835"/>
                    <a:pt x="991" y="842"/>
                  </a:cubicBezTo>
                  <a:cubicBezTo>
                    <a:pt x="983" y="855"/>
                    <a:pt x="974" y="868"/>
                    <a:pt x="964" y="881"/>
                  </a:cubicBezTo>
                  <a:cubicBezTo>
                    <a:pt x="960" y="887"/>
                    <a:pt x="955" y="893"/>
                    <a:pt x="950" y="899"/>
                  </a:cubicBezTo>
                  <a:lnTo>
                    <a:pt x="949" y="900"/>
                  </a:lnTo>
                  <a:cubicBezTo>
                    <a:pt x="944" y="905"/>
                    <a:pt x="940" y="911"/>
                    <a:pt x="935" y="916"/>
                  </a:cubicBezTo>
                  <a:lnTo>
                    <a:pt x="933" y="918"/>
                  </a:lnTo>
                  <a:cubicBezTo>
                    <a:pt x="928" y="923"/>
                    <a:pt x="923" y="928"/>
                    <a:pt x="917" y="933"/>
                  </a:cubicBezTo>
                  <a:cubicBezTo>
                    <a:pt x="912" y="938"/>
                    <a:pt x="907" y="942"/>
                    <a:pt x="902" y="947"/>
                  </a:cubicBezTo>
                  <a:lnTo>
                    <a:pt x="902" y="947"/>
                  </a:lnTo>
                  <a:cubicBezTo>
                    <a:pt x="899" y="949"/>
                    <a:pt x="897" y="951"/>
                    <a:pt x="895" y="953"/>
                  </a:cubicBezTo>
                  <a:cubicBezTo>
                    <a:pt x="890" y="957"/>
                    <a:pt x="886" y="960"/>
                    <a:pt x="881" y="964"/>
                  </a:cubicBezTo>
                  <a:cubicBezTo>
                    <a:pt x="876" y="968"/>
                    <a:pt x="870" y="972"/>
                    <a:pt x="865" y="976"/>
                  </a:cubicBezTo>
                  <a:lnTo>
                    <a:pt x="864" y="976"/>
                  </a:lnTo>
                  <a:lnTo>
                    <a:pt x="861" y="978"/>
                  </a:lnTo>
                  <a:cubicBezTo>
                    <a:pt x="849" y="986"/>
                    <a:pt x="837" y="994"/>
                    <a:pt x="824" y="1000"/>
                  </a:cubicBezTo>
                  <a:cubicBezTo>
                    <a:pt x="822" y="1002"/>
                    <a:pt x="820" y="1003"/>
                    <a:pt x="818" y="1004"/>
                  </a:cubicBezTo>
                  <a:cubicBezTo>
                    <a:pt x="813" y="1006"/>
                    <a:pt x="808" y="1009"/>
                    <a:pt x="804" y="1011"/>
                  </a:cubicBezTo>
                  <a:cubicBezTo>
                    <a:pt x="801" y="1012"/>
                    <a:pt x="798" y="1013"/>
                    <a:pt x="796" y="1014"/>
                  </a:cubicBezTo>
                  <a:lnTo>
                    <a:pt x="795" y="1015"/>
                  </a:lnTo>
                  <a:cubicBezTo>
                    <a:pt x="789" y="1017"/>
                    <a:pt x="783" y="1020"/>
                    <a:pt x="777" y="1022"/>
                  </a:cubicBezTo>
                  <a:cubicBezTo>
                    <a:pt x="750" y="1033"/>
                    <a:pt x="720" y="1041"/>
                    <a:pt x="690" y="1046"/>
                  </a:cubicBezTo>
                  <a:cubicBezTo>
                    <a:pt x="681" y="1047"/>
                    <a:pt x="673" y="1048"/>
                    <a:pt x="664" y="1049"/>
                  </a:cubicBezTo>
                  <a:cubicBezTo>
                    <a:pt x="648" y="1051"/>
                    <a:pt x="633" y="1052"/>
                    <a:pt x="618" y="1052"/>
                  </a:cubicBezTo>
                  <a:cubicBezTo>
                    <a:pt x="507" y="1051"/>
                    <a:pt x="402" y="1008"/>
                    <a:pt x="323" y="934"/>
                  </a:cubicBezTo>
                  <a:cubicBezTo>
                    <a:pt x="307" y="919"/>
                    <a:pt x="293" y="903"/>
                    <a:pt x="279" y="886"/>
                  </a:cubicBezTo>
                  <a:cubicBezTo>
                    <a:pt x="231" y="824"/>
                    <a:pt x="198" y="748"/>
                    <a:pt x="190" y="662"/>
                  </a:cubicBezTo>
                  <a:cubicBezTo>
                    <a:pt x="183" y="590"/>
                    <a:pt x="193" y="522"/>
                    <a:pt x="217" y="461"/>
                  </a:cubicBezTo>
                  <a:cubicBezTo>
                    <a:pt x="220" y="454"/>
                    <a:pt x="223" y="447"/>
                    <a:pt x="227" y="439"/>
                  </a:cubicBezTo>
                  <a:cubicBezTo>
                    <a:pt x="228" y="435"/>
                    <a:pt x="231" y="431"/>
                    <a:pt x="233" y="427"/>
                  </a:cubicBezTo>
                  <a:lnTo>
                    <a:pt x="234" y="424"/>
                  </a:lnTo>
                  <a:cubicBezTo>
                    <a:pt x="236" y="421"/>
                    <a:pt x="237" y="418"/>
                    <a:pt x="238" y="415"/>
                  </a:cubicBezTo>
                  <a:cubicBezTo>
                    <a:pt x="242" y="409"/>
                    <a:pt x="245" y="403"/>
                    <a:pt x="249" y="397"/>
                  </a:cubicBezTo>
                  <a:cubicBezTo>
                    <a:pt x="253" y="391"/>
                    <a:pt x="256" y="385"/>
                    <a:pt x="260" y="380"/>
                  </a:cubicBezTo>
                  <a:lnTo>
                    <a:pt x="263" y="375"/>
                  </a:lnTo>
                  <a:lnTo>
                    <a:pt x="264" y="374"/>
                  </a:lnTo>
                  <a:cubicBezTo>
                    <a:pt x="268" y="368"/>
                    <a:pt x="272" y="363"/>
                    <a:pt x="276" y="358"/>
                  </a:cubicBezTo>
                  <a:cubicBezTo>
                    <a:pt x="280" y="351"/>
                    <a:pt x="285" y="345"/>
                    <a:pt x="291" y="339"/>
                  </a:cubicBezTo>
                  <a:cubicBezTo>
                    <a:pt x="296" y="333"/>
                    <a:pt x="301" y="328"/>
                    <a:pt x="306" y="322"/>
                  </a:cubicBezTo>
                  <a:cubicBezTo>
                    <a:pt x="312" y="316"/>
                    <a:pt x="317" y="311"/>
                    <a:pt x="323" y="305"/>
                  </a:cubicBezTo>
                  <a:cubicBezTo>
                    <a:pt x="329" y="300"/>
                    <a:pt x="335" y="295"/>
                    <a:pt x="341" y="290"/>
                  </a:cubicBezTo>
                  <a:cubicBezTo>
                    <a:pt x="347" y="284"/>
                    <a:pt x="353" y="279"/>
                    <a:pt x="359" y="275"/>
                  </a:cubicBezTo>
                  <a:cubicBezTo>
                    <a:pt x="365" y="271"/>
                    <a:pt x="370" y="267"/>
                    <a:pt x="375" y="263"/>
                  </a:cubicBezTo>
                  <a:cubicBezTo>
                    <a:pt x="378" y="262"/>
                    <a:pt x="381" y="260"/>
                    <a:pt x="383" y="258"/>
                  </a:cubicBezTo>
                  <a:lnTo>
                    <a:pt x="385" y="257"/>
                  </a:lnTo>
                  <a:cubicBezTo>
                    <a:pt x="388" y="255"/>
                    <a:pt x="391" y="253"/>
                    <a:pt x="394" y="252"/>
                  </a:cubicBezTo>
                  <a:lnTo>
                    <a:pt x="396" y="250"/>
                  </a:lnTo>
                  <a:cubicBezTo>
                    <a:pt x="398" y="249"/>
                    <a:pt x="400" y="247"/>
                    <a:pt x="403" y="246"/>
                  </a:cubicBezTo>
                  <a:lnTo>
                    <a:pt x="406" y="244"/>
                  </a:lnTo>
                  <a:lnTo>
                    <a:pt x="408" y="243"/>
                  </a:lnTo>
                  <a:lnTo>
                    <a:pt x="409" y="243"/>
                  </a:lnTo>
                  <a:cubicBezTo>
                    <a:pt x="412" y="241"/>
                    <a:pt x="415" y="239"/>
                    <a:pt x="419" y="237"/>
                  </a:cubicBezTo>
                  <a:cubicBezTo>
                    <a:pt x="426" y="233"/>
                    <a:pt x="433" y="230"/>
                    <a:pt x="440" y="226"/>
                  </a:cubicBezTo>
                  <a:cubicBezTo>
                    <a:pt x="447" y="223"/>
                    <a:pt x="454" y="220"/>
                    <a:pt x="461" y="217"/>
                  </a:cubicBezTo>
                  <a:lnTo>
                    <a:pt x="462" y="217"/>
                  </a:lnTo>
                  <a:cubicBezTo>
                    <a:pt x="468" y="215"/>
                    <a:pt x="474" y="212"/>
                    <a:pt x="480" y="210"/>
                  </a:cubicBezTo>
                  <a:lnTo>
                    <a:pt x="484" y="209"/>
                  </a:lnTo>
                  <a:cubicBezTo>
                    <a:pt x="513" y="199"/>
                    <a:pt x="544" y="192"/>
                    <a:pt x="575" y="189"/>
                  </a:cubicBezTo>
                  <a:cubicBezTo>
                    <a:pt x="805" y="165"/>
                    <a:pt x="1023" y="330"/>
                    <a:pt x="1050" y="572"/>
                  </a:cubicBezTo>
                  <a:cubicBezTo>
                    <a:pt x="1057" y="636"/>
                    <a:pt x="1050" y="698"/>
                    <a:pt x="1031" y="755"/>
                  </a:cubicBezTo>
                  <a:cubicBezTo>
                    <a:pt x="1028" y="764"/>
                    <a:pt x="1025" y="772"/>
                    <a:pt x="1021" y="781"/>
                  </a:cubicBezTo>
                  <a:moveTo>
                    <a:pt x="1234" y="692"/>
                  </a:moveTo>
                  <a:cubicBezTo>
                    <a:pt x="1238" y="667"/>
                    <a:pt x="1241" y="642"/>
                    <a:pt x="1237" y="616"/>
                  </a:cubicBezTo>
                  <a:cubicBezTo>
                    <a:pt x="1206" y="605"/>
                    <a:pt x="1173" y="599"/>
                    <a:pt x="1141" y="591"/>
                  </a:cubicBezTo>
                  <a:cubicBezTo>
                    <a:pt x="1134" y="577"/>
                    <a:pt x="1138" y="561"/>
                    <a:pt x="1133" y="546"/>
                  </a:cubicBezTo>
                  <a:cubicBezTo>
                    <a:pt x="1165" y="531"/>
                    <a:pt x="1195" y="516"/>
                    <a:pt x="1225" y="501"/>
                  </a:cubicBezTo>
                  <a:cubicBezTo>
                    <a:pt x="1225" y="474"/>
                    <a:pt x="1216" y="451"/>
                    <a:pt x="1208" y="426"/>
                  </a:cubicBezTo>
                  <a:cubicBezTo>
                    <a:pt x="1190" y="424"/>
                    <a:pt x="1174" y="427"/>
                    <a:pt x="1157" y="428"/>
                  </a:cubicBezTo>
                  <a:cubicBezTo>
                    <a:pt x="1140" y="429"/>
                    <a:pt x="1124" y="430"/>
                    <a:pt x="1107" y="432"/>
                  </a:cubicBezTo>
                  <a:cubicBezTo>
                    <a:pt x="1098" y="419"/>
                    <a:pt x="1094" y="405"/>
                    <a:pt x="1087" y="392"/>
                  </a:cubicBezTo>
                  <a:cubicBezTo>
                    <a:pt x="1090" y="388"/>
                    <a:pt x="1092" y="384"/>
                    <a:pt x="1096" y="380"/>
                  </a:cubicBezTo>
                  <a:cubicBezTo>
                    <a:pt x="1112" y="365"/>
                    <a:pt x="1129" y="349"/>
                    <a:pt x="1146" y="334"/>
                  </a:cubicBezTo>
                  <a:cubicBezTo>
                    <a:pt x="1150" y="329"/>
                    <a:pt x="1155" y="324"/>
                    <a:pt x="1161" y="317"/>
                  </a:cubicBezTo>
                  <a:cubicBezTo>
                    <a:pt x="1148" y="294"/>
                    <a:pt x="1136" y="273"/>
                    <a:pt x="1119" y="254"/>
                  </a:cubicBezTo>
                  <a:cubicBezTo>
                    <a:pt x="1086" y="262"/>
                    <a:pt x="1056" y="278"/>
                    <a:pt x="1024" y="291"/>
                  </a:cubicBezTo>
                  <a:cubicBezTo>
                    <a:pt x="1013" y="279"/>
                    <a:pt x="1003" y="268"/>
                    <a:pt x="992" y="256"/>
                  </a:cubicBezTo>
                  <a:cubicBezTo>
                    <a:pt x="1009" y="226"/>
                    <a:pt x="1027" y="197"/>
                    <a:pt x="1041" y="166"/>
                  </a:cubicBezTo>
                  <a:cubicBezTo>
                    <a:pt x="1023" y="147"/>
                    <a:pt x="1003" y="132"/>
                    <a:pt x="982" y="117"/>
                  </a:cubicBezTo>
                  <a:cubicBezTo>
                    <a:pt x="953" y="137"/>
                    <a:pt x="929" y="160"/>
                    <a:pt x="902" y="183"/>
                  </a:cubicBezTo>
                  <a:cubicBezTo>
                    <a:pt x="888" y="175"/>
                    <a:pt x="876" y="167"/>
                    <a:pt x="863" y="159"/>
                  </a:cubicBezTo>
                  <a:cubicBezTo>
                    <a:pt x="867" y="125"/>
                    <a:pt x="878" y="92"/>
                    <a:pt x="880" y="58"/>
                  </a:cubicBezTo>
                  <a:cubicBezTo>
                    <a:pt x="858" y="45"/>
                    <a:pt x="835" y="38"/>
                    <a:pt x="810" y="30"/>
                  </a:cubicBezTo>
                  <a:cubicBezTo>
                    <a:pt x="807" y="34"/>
                    <a:pt x="802" y="38"/>
                    <a:pt x="799" y="43"/>
                  </a:cubicBezTo>
                  <a:cubicBezTo>
                    <a:pt x="787" y="62"/>
                    <a:pt x="776" y="80"/>
                    <a:pt x="764" y="99"/>
                  </a:cubicBezTo>
                  <a:cubicBezTo>
                    <a:pt x="761" y="105"/>
                    <a:pt x="757" y="110"/>
                    <a:pt x="753" y="116"/>
                  </a:cubicBezTo>
                  <a:cubicBezTo>
                    <a:pt x="737" y="114"/>
                    <a:pt x="723" y="112"/>
                    <a:pt x="708" y="105"/>
                  </a:cubicBezTo>
                  <a:cubicBezTo>
                    <a:pt x="702" y="72"/>
                    <a:pt x="704" y="38"/>
                    <a:pt x="692" y="5"/>
                  </a:cubicBezTo>
                  <a:cubicBezTo>
                    <a:pt x="668" y="0"/>
                    <a:pt x="645" y="1"/>
                    <a:pt x="620" y="0"/>
                  </a:cubicBezTo>
                  <a:cubicBezTo>
                    <a:pt x="617" y="5"/>
                    <a:pt x="614" y="10"/>
                    <a:pt x="613" y="15"/>
                  </a:cubicBezTo>
                  <a:cubicBezTo>
                    <a:pt x="607" y="39"/>
                    <a:pt x="601" y="62"/>
                    <a:pt x="595" y="86"/>
                  </a:cubicBezTo>
                  <a:cubicBezTo>
                    <a:pt x="594" y="90"/>
                    <a:pt x="593" y="94"/>
                    <a:pt x="592" y="99"/>
                  </a:cubicBezTo>
                  <a:cubicBezTo>
                    <a:pt x="577" y="103"/>
                    <a:pt x="562" y="103"/>
                    <a:pt x="546" y="105"/>
                  </a:cubicBezTo>
                  <a:cubicBezTo>
                    <a:pt x="529" y="75"/>
                    <a:pt x="519" y="42"/>
                    <a:pt x="500" y="13"/>
                  </a:cubicBezTo>
                  <a:cubicBezTo>
                    <a:pt x="476" y="15"/>
                    <a:pt x="453" y="23"/>
                    <a:pt x="428" y="31"/>
                  </a:cubicBezTo>
                  <a:cubicBezTo>
                    <a:pt x="428" y="36"/>
                    <a:pt x="427" y="40"/>
                    <a:pt x="427" y="45"/>
                  </a:cubicBezTo>
                  <a:cubicBezTo>
                    <a:pt x="428" y="66"/>
                    <a:pt x="429" y="87"/>
                    <a:pt x="430" y="108"/>
                  </a:cubicBezTo>
                  <a:cubicBezTo>
                    <a:pt x="431" y="117"/>
                    <a:pt x="432" y="125"/>
                    <a:pt x="432" y="134"/>
                  </a:cubicBezTo>
                  <a:cubicBezTo>
                    <a:pt x="427" y="137"/>
                    <a:pt x="422" y="139"/>
                    <a:pt x="416" y="141"/>
                  </a:cubicBezTo>
                  <a:cubicBezTo>
                    <a:pt x="408" y="145"/>
                    <a:pt x="400" y="149"/>
                    <a:pt x="392" y="152"/>
                  </a:cubicBezTo>
                  <a:cubicBezTo>
                    <a:pt x="377" y="142"/>
                    <a:pt x="368" y="128"/>
                    <a:pt x="356" y="116"/>
                  </a:cubicBezTo>
                  <a:cubicBezTo>
                    <a:pt x="344" y="104"/>
                    <a:pt x="333" y="92"/>
                    <a:pt x="321" y="81"/>
                  </a:cubicBezTo>
                  <a:cubicBezTo>
                    <a:pt x="301" y="86"/>
                    <a:pt x="279" y="100"/>
                    <a:pt x="255" y="121"/>
                  </a:cubicBezTo>
                  <a:cubicBezTo>
                    <a:pt x="263" y="153"/>
                    <a:pt x="279" y="183"/>
                    <a:pt x="291" y="215"/>
                  </a:cubicBezTo>
                  <a:cubicBezTo>
                    <a:pt x="282" y="227"/>
                    <a:pt x="270" y="236"/>
                    <a:pt x="258" y="246"/>
                  </a:cubicBezTo>
                  <a:cubicBezTo>
                    <a:pt x="228" y="230"/>
                    <a:pt x="198" y="215"/>
                    <a:pt x="170" y="199"/>
                  </a:cubicBezTo>
                  <a:cubicBezTo>
                    <a:pt x="152" y="211"/>
                    <a:pt x="135" y="232"/>
                    <a:pt x="119" y="259"/>
                  </a:cubicBezTo>
                  <a:cubicBezTo>
                    <a:pt x="137" y="286"/>
                    <a:pt x="160" y="310"/>
                    <a:pt x="183" y="336"/>
                  </a:cubicBezTo>
                  <a:cubicBezTo>
                    <a:pt x="177" y="351"/>
                    <a:pt x="169" y="363"/>
                    <a:pt x="159" y="376"/>
                  </a:cubicBezTo>
                  <a:cubicBezTo>
                    <a:pt x="154" y="376"/>
                    <a:pt x="148" y="375"/>
                    <a:pt x="143" y="374"/>
                  </a:cubicBezTo>
                  <a:cubicBezTo>
                    <a:pt x="137" y="373"/>
                    <a:pt x="132" y="372"/>
                    <a:pt x="126" y="371"/>
                  </a:cubicBezTo>
                  <a:cubicBezTo>
                    <a:pt x="104" y="366"/>
                    <a:pt x="82" y="361"/>
                    <a:pt x="59" y="360"/>
                  </a:cubicBezTo>
                  <a:cubicBezTo>
                    <a:pt x="46" y="382"/>
                    <a:pt x="39" y="406"/>
                    <a:pt x="31" y="430"/>
                  </a:cubicBezTo>
                  <a:cubicBezTo>
                    <a:pt x="58" y="453"/>
                    <a:pt x="89" y="466"/>
                    <a:pt x="117" y="486"/>
                  </a:cubicBezTo>
                  <a:cubicBezTo>
                    <a:pt x="115" y="494"/>
                    <a:pt x="115" y="500"/>
                    <a:pt x="113" y="507"/>
                  </a:cubicBezTo>
                  <a:cubicBezTo>
                    <a:pt x="111" y="515"/>
                    <a:pt x="109" y="523"/>
                    <a:pt x="107" y="531"/>
                  </a:cubicBezTo>
                  <a:cubicBezTo>
                    <a:pt x="73" y="537"/>
                    <a:pt x="39" y="538"/>
                    <a:pt x="6" y="546"/>
                  </a:cubicBezTo>
                  <a:cubicBezTo>
                    <a:pt x="2" y="571"/>
                    <a:pt x="0" y="595"/>
                    <a:pt x="2" y="621"/>
                  </a:cubicBezTo>
                  <a:cubicBezTo>
                    <a:pt x="33" y="634"/>
                    <a:pt x="66" y="638"/>
                    <a:pt x="99" y="648"/>
                  </a:cubicBezTo>
                  <a:cubicBezTo>
                    <a:pt x="105" y="662"/>
                    <a:pt x="104" y="677"/>
                    <a:pt x="105" y="694"/>
                  </a:cubicBezTo>
                  <a:cubicBezTo>
                    <a:pt x="83" y="704"/>
                    <a:pt x="60" y="715"/>
                    <a:pt x="37" y="726"/>
                  </a:cubicBezTo>
                  <a:lnTo>
                    <a:pt x="14" y="737"/>
                  </a:lnTo>
                  <a:cubicBezTo>
                    <a:pt x="15" y="753"/>
                    <a:pt x="18" y="767"/>
                    <a:pt x="22" y="782"/>
                  </a:cubicBezTo>
                  <a:cubicBezTo>
                    <a:pt x="25" y="792"/>
                    <a:pt x="29" y="802"/>
                    <a:pt x="32" y="812"/>
                  </a:cubicBezTo>
                  <a:cubicBezTo>
                    <a:pt x="52" y="814"/>
                    <a:pt x="71" y="812"/>
                    <a:pt x="90" y="810"/>
                  </a:cubicBezTo>
                  <a:cubicBezTo>
                    <a:pt x="104" y="809"/>
                    <a:pt x="119" y="807"/>
                    <a:pt x="135" y="807"/>
                  </a:cubicBezTo>
                  <a:cubicBezTo>
                    <a:pt x="138" y="814"/>
                    <a:pt x="142" y="821"/>
                    <a:pt x="145" y="828"/>
                  </a:cubicBezTo>
                  <a:cubicBezTo>
                    <a:pt x="148" y="835"/>
                    <a:pt x="150" y="842"/>
                    <a:pt x="153" y="849"/>
                  </a:cubicBezTo>
                  <a:cubicBezTo>
                    <a:pt x="129" y="874"/>
                    <a:pt x="102" y="894"/>
                    <a:pt x="80" y="921"/>
                  </a:cubicBezTo>
                  <a:cubicBezTo>
                    <a:pt x="91" y="944"/>
                    <a:pt x="105" y="964"/>
                    <a:pt x="120" y="985"/>
                  </a:cubicBezTo>
                  <a:cubicBezTo>
                    <a:pt x="153" y="976"/>
                    <a:pt x="183" y="961"/>
                    <a:pt x="216" y="948"/>
                  </a:cubicBezTo>
                  <a:cubicBezTo>
                    <a:pt x="221" y="953"/>
                    <a:pt x="227" y="958"/>
                    <a:pt x="232" y="964"/>
                  </a:cubicBezTo>
                  <a:cubicBezTo>
                    <a:pt x="235" y="968"/>
                    <a:pt x="239" y="972"/>
                    <a:pt x="243" y="976"/>
                  </a:cubicBezTo>
                  <a:lnTo>
                    <a:pt x="243" y="977"/>
                  </a:lnTo>
                  <a:cubicBezTo>
                    <a:pt x="244" y="978"/>
                    <a:pt x="246" y="980"/>
                    <a:pt x="247" y="982"/>
                  </a:cubicBezTo>
                  <a:cubicBezTo>
                    <a:pt x="239" y="997"/>
                    <a:pt x="230" y="1013"/>
                    <a:pt x="222" y="1029"/>
                  </a:cubicBezTo>
                  <a:cubicBezTo>
                    <a:pt x="214" y="1043"/>
                    <a:pt x="207" y="1057"/>
                    <a:pt x="199" y="1071"/>
                  </a:cubicBezTo>
                  <a:cubicBezTo>
                    <a:pt x="201" y="1073"/>
                    <a:pt x="202" y="1075"/>
                    <a:pt x="203" y="1076"/>
                  </a:cubicBezTo>
                  <a:cubicBezTo>
                    <a:pt x="217" y="1092"/>
                    <a:pt x="234" y="1103"/>
                    <a:pt x="251" y="1116"/>
                  </a:cubicBezTo>
                  <a:cubicBezTo>
                    <a:pt x="253" y="1118"/>
                    <a:pt x="255" y="1120"/>
                    <a:pt x="258" y="1122"/>
                  </a:cubicBezTo>
                  <a:cubicBezTo>
                    <a:pt x="287" y="1102"/>
                    <a:pt x="311" y="1079"/>
                    <a:pt x="337" y="1057"/>
                  </a:cubicBezTo>
                  <a:cubicBezTo>
                    <a:pt x="352" y="1062"/>
                    <a:pt x="364" y="1071"/>
                    <a:pt x="378" y="1079"/>
                  </a:cubicBezTo>
                  <a:cubicBezTo>
                    <a:pt x="373" y="1113"/>
                    <a:pt x="363" y="1145"/>
                    <a:pt x="361" y="1178"/>
                  </a:cubicBezTo>
                  <a:cubicBezTo>
                    <a:pt x="378" y="1191"/>
                    <a:pt x="402" y="1201"/>
                    <a:pt x="432" y="1207"/>
                  </a:cubicBezTo>
                  <a:cubicBezTo>
                    <a:pt x="453" y="1182"/>
                    <a:pt x="468" y="1152"/>
                    <a:pt x="486" y="1123"/>
                  </a:cubicBezTo>
                  <a:cubicBezTo>
                    <a:pt x="502" y="1124"/>
                    <a:pt x="517" y="1127"/>
                    <a:pt x="532" y="1133"/>
                  </a:cubicBezTo>
                  <a:cubicBezTo>
                    <a:pt x="535" y="1151"/>
                    <a:pt x="536" y="1169"/>
                    <a:pt x="539" y="1188"/>
                  </a:cubicBezTo>
                  <a:lnTo>
                    <a:pt x="539" y="1188"/>
                  </a:lnTo>
                  <a:cubicBezTo>
                    <a:pt x="541" y="1203"/>
                    <a:pt x="543" y="1218"/>
                    <a:pt x="548" y="1233"/>
                  </a:cubicBezTo>
                  <a:cubicBezTo>
                    <a:pt x="558" y="1235"/>
                    <a:pt x="569" y="1237"/>
                    <a:pt x="579" y="1237"/>
                  </a:cubicBezTo>
                  <a:cubicBezTo>
                    <a:pt x="593" y="1238"/>
                    <a:pt x="607" y="1238"/>
                    <a:pt x="622" y="1238"/>
                  </a:cubicBezTo>
                  <a:cubicBezTo>
                    <a:pt x="635" y="1207"/>
                    <a:pt x="639" y="1173"/>
                    <a:pt x="649" y="1140"/>
                  </a:cubicBezTo>
                  <a:cubicBezTo>
                    <a:pt x="656" y="1138"/>
                    <a:pt x="663" y="1137"/>
                    <a:pt x="671" y="1136"/>
                  </a:cubicBezTo>
                  <a:cubicBezTo>
                    <a:pt x="678" y="1135"/>
                    <a:pt x="686" y="1135"/>
                    <a:pt x="694" y="1135"/>
                  </a:cubicBezTo>
                  <a:cubicBezTo>
                    <a:pt x="711" y="1164"/>
                    <a:pt x="721" y="1197"/>
                    <a:pt x="740" y="1226"/>
                  </a:cubicBezTo>
                  <a:cubicBezTo>
                    <a:pt x="765" y="1223"/>
                    <a:pt x="788" y="1216"/>
                    <a:pt x="812" y="1208"/>
                  </a:cubicBezTo>
                  <a:cubicBezTo>
                    <a:pt x="816" y="1191"/>
                    <a:pt x="814" y="1174"/>
                    <a:pt x="812" y="1158"/>
                  </a:cubicBezTo>
                  <a:cubicBezTo>
                    <a:pt x="811" y="1141"/>
                    <a:pt x="809" y="1124"/>
                    <a:pt x="807" y="1107"/>
                  </a:cubicBezTo>
                  <a:cubicBezTo>
                    <a:pt x="818" y="1098"/>
                    <a:pt x="831" y="1094"/>
                    <a:pt x="844" y="1088"/>
                  </a:cubicBezTo>
                  <a:cubicBezTo>
                    <a:pt x="846" y="1088"/>
                    <a:pt x="847" y="1087"/>
                    <a:pt x="849" y="1086"/>
                  </a:cubicBezTo>
                  <a:cubicBezTo>
                    <a:pt x="863" y="1096"/>
                    <a:pt x="872" y="1111"/>
                    <a:pt x="884" y="1122"/>
                  </a:cubicBezTo>
                  <a:cubicBezTo>
                    <a:pt x="896" y="1134"/>
                    <a:pt x="908" y="1146"/>
                    <a:pt x="919" y="1158"/>
                  </a:cubicBezTo>
                  <a:cubicBezTo>
                    <a:pt x="938" y="1152"/>
                    <a:pt x="961" y="1138"/>
                    <a:pt x="985" y="1118"/>
                  </a:cubicBezTo>
                  <a:cubicBezTo>
                    <a:pt x="977" y="1086"/>
                    <a:pt x="961" y="1056"/>
                    <a:pt x="949" y="1024"/>
                  </a:cubicBezTo>
                  <a:cubicBezTo>
                    <a:pt x="958" y="1011"/>
                    <a:pt x="971" y="1003"/>
                    <a:pt x="983" y="992"/>
                  </a:cubicBezTo>
                  <a:cubicBezTo>
                    <a:pt x="998" y="1000"/>
                    <a:pt x="1012" y="1008"/>
                    <a:pt x="1027" y="1016"/>
                  </a:cubicBezTo>
                  <a:cubicBezTo>
                    <a:pt x="1042" y="1024"/>
                    <a:pt x="1057" y="1032"/>
                    <a:pt x="1071" y="1039"/>
                  </a:cubicBezTo>
                  <a:cubicBezTo>
                    <a:pt x="1087" y="1027"/>
                    <a:pt x="1106" y="1006"/>
                    <a:pt x="1121" y="980"/>
                  </a:cubicBezTo>
                  <a:cubicBezTo>
                    <a:pt x="1104" y="952"/>
                    <a:pt x="1079" y="929"/>
                    <a:pt x="1058" y="902"/>
                  </a:cubicBezTo>
                  <a:cubicBezTo>
                    <a:pt x="1063" y="888"/>
                    <a:pt x="1071" y="875"/>
                    <a:pt x="1081" y="862"/>
                  </a:cubicBezTo>
                  <a:cubicBezTo>
                    <a:pt x="1085" y="863"/>
                    <a:pt x="1089" y="863"/>
                    <a:pt x="1093" y="864"/>
                  </a:cubicBezTo>
                  <a:cubicBezTo>
                    <a:pt x="1097" y="865"/>
                    <a:pt x="1101" y="865"/>
                    <a:pt x="1105" y="866"/>
                  </a:cubicBezTo>
                  <a:cubicBezTo>
                    <a:pt x="1120" y="869"/>
                    <a:pt x="1135" y="872"/>
                    <a:pt x="1150" y="875"/>
                  </a:cubicBezTo>
                  <a:lnTo>
                    <a:pt x="1150" y="875"/>
                  </a:lnTo>
                  <a:cubicBezTo>
                    <a:pt x="1160" y="876"/>
                    <a:pt x="1170" y="878"/>
                    <a:pt x="1181" y="879"/>
                  </a:cubicBezTo>
                  <a:cubicBezTo>
                    <a:pt x="1194" y="857"/>
                    <a:pt x="1202" y="833"/>
                    <a:pt x="1209" y="808"/>
                  </a:cubicBezTo>
                  <a:cubicBezTo>
                    <a:pt x="1183" y="786"/>
                    <a:pt x="1152" y="772"/>
                    <a:pt x="1124" y="753"/>
                  </a:cubicBezTo>
                  <a:cubicBezTo>
                    <a:pt x="1124" y="737"/>
                    <a:pt x="1129" y="723"/>
                    <a:pt x="1133" y="708"/>
                  </a:cubicBezTo>
                  <a:cubicBezTo>
                    <a:pt x="1167" y="700"/>
                    <a:pt x="1201" y="701"/>
                    <a:pt x="1234" y="692"/>
                  </a:cubicBez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4">
              <a:extLst>
                <a:ext uri="{FF2B5EF4-FFF2-40B4-BE49-F238E27FC236}">
                  <a16:creationId xmlns:a16="http://schemas.microsoft.com/office/drawing/2014/main" id="{5EDBE88C-8323-D964-F0EF-7829E6FF3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92688" y="3352800"/>
              <a:ext cx="168275" cy="184150"/>
            </a:xfrm>
            <a:custGeom>
              <a:avLst/>
              <a:gdLst>
                <a:gd name="T0" fmla="*/ 254 w 373"/>
                <a:gd name="T1" fmla="*/ 0 h 403"/>
                <a:gd name="T2" fmla="*/ 373 w 373"/>
                <a:gd name="T3" fmla="*/ 120 h 403"/>
                <a:gd name="T4" fmla="*/ 304 w 373"/>
                <a:gd name="T5" fmla="*/ 107 h 403"/>
                <a:gd name="T6" fmla="*/ 281 w 373"/>
                <a:gd name="T7" fmla="*/ 147 h 403"/>
                <a:gd name="T8" fmla="*/ 344 w 373"/>
                <a:gd name="T9" fmla="*/ 225 h 403"/>
                <a:gd name="T10" fmla="*/ 294 w 373"/>
                <a:gd name="T11" fmla="*/ 284 h 403"/>
                <a:gd name="T12" fmla="*/ 250 w 373"/>
                <a:gd name="T13" fmla="*/ 261 h 403"/>
                <a:gd name="T14" fmla="*/ 206 w 373"/>
                <a:gd name="T15" fmla="*/ 237 h 403"/>
                <a:gd name="T16" fmla="*/ 172 w 373"/>
                <a:gd name="T17" fmla="*/ 269 h 403"/>
                <a:gd name="T18" fmla="*/ 208 w 373"/>
                <a:gd name="T19" fmla="*/ 363 h 403"/>
                <a:gd name="T20" fmla="*/ 142 w 373"/>
                <a:gd name="T21" fmla="*/ 403 h 403"/>
                <a:gd name="T22" fmla="*/ 107 w 373"/>
                <a:gd name="T23" fmla="*/ 367 h 403"/>
                <a:gd name="T24" fmla="*/ 72 w 373"/>
                <a:gd name="T25" fmla="*/ 331 h 403"/>
                <a:gd name="T26" fmla="*/ 67 w 373"/>
                <a:gd name="T27" fmla="*/ 333 h 403"/>
                <a:gd name="T28" fmla="*/ 0 w 373"/>
                <a:gd name="T29" fmla="*/ 267 h 403"/>
                <a:gd name="T30" fmla="*/ 254 w 373"/>
                <a:gd name="T31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3" h="403">
                  <a:moveTo>
                    <a:pt x="254" y="0"/>
                  </a:moveTo>
                  <a:lnTo>
                    <a:pt x="373" y="120"/>
                  </a:lnTo>
                  <a:cubicBezTo>
                    <a:pt x="350" y="116"/>
                    <a:pt x="327" y="110"/>
                    <a:pt x="304" y="107"/>
                  </a:cubicBezTo>
                  <a:cubicBezTo>
                    <a:pt x="294" y="120"/>
                    <a:pt x="286" y="133"/>
                    <a:pt x="281" y="147"/>
                  </a:cubicBezTo>
                  <a:cubicBezTo>
                    <a:pt x="302" y="174"/>
                    <a:pt x="327" y="197"/>
                    <a:pt x="344" y="225"/>
                  </a:cubicBezTo>
                  <a:cubicBezTo>
                    <a:pt x="329" y="251"/>
                    <a:pt x="311" y="272"/>
                    <a:pt x="294" y="284"/>
                  </a:cubicBezTo>
                  <a:cubicBezTo>
                    <a:pt x="280" y="277"/>
                    <a:pt x="265" y="269"/>
                    <a:pt x="250" y="261"/>
                  </a:cubicBezTo>
                  <a:cubicBezTo>
                    <a:pt x="235" y="253"/>
                    <a:pt x="221" y="245"/>
                    <a:pt x="206" y="237"/>
                  </a:cubicBezTo>
                  <a:cubicBezTo>
                    <a:pt x="194" y="248"/>
                    <a:pt x="181" y="256"/>
                    <a:pt x="172" y="269"/>
                  </a:cubicBezTo>
                  <a:cubicBezTo>
                    <a:pt x="184" y="301"/>
                    <a:pt x="201" y="330"/>
                    <a:pt x="208" y="363"/>
                  </a:cubicBezTo>
                  <a:cubicBezTo>
                    <a:pt x="184" y="383"/>
                    <a:pt x="162" y="397"/>
                    <a:pt x="142" y="403"/>
                  </a:cubicBezTo>
                  <a:cubicBezTo>
                    <a:pt x="131" y="391"/>
                    <a:pt x="119" y="379"/>
                    <a:pt x="107" y="367"/>
                  </a:cubicBezTo>
                  <a:cubicBezTo>
                    <a:pt x="95" y="355"/>
                    <a:pt x="86" y="341"/>
                    <a:pt x="72" y="331"/>
                  </a:cubicBezTo>
                  <a:cubicBezTo>
                    <a:pt x="70" y="332"/>
                    <a:pt x="69" y="333"/>
                    <a:pt x="67" y="333"/>
                  </a:cubicBezTo>
                  <a:lnTo>
                    <a:pt x="0" y="267"/>
                  </a:lnTo>
                  <a:cubicBezTo>
                    <a:pt x="120" y="220"/>
                    <a:pt x="213" y="122"/>
                    <a:pt x="254" y="0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5">
              <a:extLst>
                <a:ext uri="{FF2B5EF4-FFF2-40B4-BE49-F238E27FC236}">
                  <a16:creationId xmlns:a16="http://schemas.microsoft.com/office/drawing/2014/main" id="{7F00F533-92C6-E679-1699-F8745D7AF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91138" y="3044825"/>
              <a:ext cx="165100" cy="174625"/>
            </a:xfrm>
            <a:custGeom>
              <a:avLst/>
              <a:gdLst>
                <a:gd name="T0" fmla="*/ 64 w 365"/>
                <a:gd name="T1" fmla="*/ 255 h 381"/>
                <a:gd name="T2" fmla="*/ 0 w 365"/>
                <a:gd name="T3" fmla="*/ 177 h 381"/>
                <a:gd name="T4" fmla="*/ 51 w 365"/>
                <a:gd name="T5" fmla="*/ 118 h 381"/>
                <a:gd name="T6" fmla="*/ 139 w 365"/>
                <a:gd name="T7" fmla="*/ 165 h 381"/>
                <a:gd name="T8" fmla="*/ 172 w 365"/>
                <a:gd name="T9" fmla="*/ 134 h 381"/>
                <a:gd name="T10" fmla="*/ 136 w 365"/>
                <a:gd name="T11" fmla="*/ 40 h 381"/>
                <a:gd name="T12" fmla="*/ 202 w 365"/>
                <a:gd name="T13" fmla="*/ 0 h 381"/>
                <a:gd name="T14" fmla="*/ 237 w 365"/>
                <a:gd name="T15" fmla="*/ 35 h 381"/>
                <a:gd name="T16" fmla="*/ 273 w 365"/>
                <a:gd name="T17" fmla="*/ 71 h 381"/>
                <a:gd name="T18" fmla="*/ 298 w 365"/>
                <a:gd name="T19" fmla="*/ 60 h 381"/>
                <a:gd name="T20" fmla="*/ 365 w 365"/>
                <a:gd name="T21" fmla="*/ 128 h 381"/>
                <a:gd name="T22" fmla="*/ 98 w 365"/>
                <a:gd name="T23" fmla="*/ 381 h 381"/>
                <a:gd name="T24" fmla="*/ 7 w 365"/>
                <a:gd name="T25" fmla="*/ 290 h 381"/>
                <a:gd name="T26" fmla="*/ 41 w 365"/>
                <a:gd name="T27" fmla="*/ 295 h 381"/>
                <a:gd name="T28" fmla="*/ 64 w 365"/>
                <a:gd name="T29" fmla="*/ 25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5" h="381">
                  <a:moveTo>
                    <a:pt x="64" y="255"/>
                  </a:moveTo>
                  <a:cubicBezTo>
                    <a:pt x="42" y="229"/>
                    <a:pt x="18" y="205"/>
                    <a:pt x="0" y="177"/>
                  </a:cubicBezTo>
                  <a:cubicBezTo>
                    <a:pt x="16" y="151"/>
                    <a:pt x="33" y="130"/>
                    <a:pt x="51" y="118"/>
                  </a:cubicBezTo>
                  <a:cubicBezTo>
                    <a:pt x="79" y="133"/>
                    <a:pt x="109" y="149"/>
                    <a:pt x="139" y="165"/>
                  </a:cubicBezTo>
                  <a:cubicBezTo>
                    <a:pt x="151" y="155"/>
                    <a:pt x="163" y="146"/>
                    <a:pt x="172" y="134"/>
                  </a:cubicBezTo>
                  <a:cubicBezTo>
                    <a:pt x="161" y="102"/>
                    <a:pt x="144" y="72"/>
                    <a:pt x="136" y="40"/>
                  </a:cubicBezTo>
                  <a:cubicBezTo>
                    <a:pt x="160" y="19"/>
                    <a:pt x="183" y="5"/>
                    <a:pt x="202" y="0"/>
                  </a:cubicBezTo>
                  <a:cubicBezTo>
                    <a:pt x="214" y="11"/>
                    <a:pt x="225" y="23"/>
                    <a:pt x="237" y="35"/>
                  </a:cubicBezTo>
                  <a:cubicBezTo>
                    <a:pt x="249" y="47"/>
                    <a:pt x="258" y="61"/>
                    <a:pt x="273" y="71"/>
                  </a:cubicBezTo>
                  <a:cubicBezTo>
                    <a:pt x="281" y="68"/>
                    <a:pt x="289" y="64"/>
                    <a:pt x="298" y="60"/>
                  </a:cubicBezTo>
                  <a:lnTo>
                    <a:pt x="365" y="128"/>
                  </a:lnTo>
                  <a:cubicBezTo>
                    <a:pt x="245" y="168"/>
                    <a:pt x="145" y="260"/>
                    <a:pt x="98" y="381"/>
                  </a:cubicBezTo>
                  <a:lnTo>
                    <a:pt x="7" y="290"/>
                  </a:lnTo>
                  <a:cubicBezTo>
                    <a:pt x="18" y="292"/>
                    <a:pt x="29" y="294"/>
                    <a:pt x="41" y="295"/>
                  </a:cubicBezTo>
                  <a:cubicBezTo>
                    <a:pt x="50" y="282"/>
                    <a:pt x="58" y="270"/>
                    <a:pt x="64" y="255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6">
              <a:extLst>
                <a:ext uri="{FF2B5EF4-FFF2-40B4-BE49-F238E27FC236}">
                  <a16:creationId xmlns:a16="http://schemas.microsoft.com/office/drawing/2014/main" id="{01026D05-D811-F32C-364B-5F465478A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76850" y="3208338"/>
              <a:ext cx="344488" cy="504825"/>
            </a:xfrm>
            <a:custGeom>
              <a:avLst/>
              <a:gdLst>
                <a:gd name="T0" fmla="*/ 272 w 763"/>
                <a:gd name="T1" fmla="*/ 1104 h 1107"/>
                <a:gd name="T2" fmla="*/ 255 w 763"/>
                <a:gd name="T3" fmla="*/ 1065 h 1107"/>
                <a:gd name="T4" fmla="*/ 256 w 763"/>
                <a:gd name="T5" fmla="*/ 1033 h 1107"/>
                <a:gd name="T6" fmla="*/ 278 w 763"/>
                <a:gd name="T7" fmla="*/ 1002 h 1107"/>
                <a:gd name="T8" fmla="*/ 276 w 763"/>
                <a:gd name="T9" fmla="*/ 997 h 1107"/>
                <a:gd name="T10" fmla="*/ 398 w 763"/>
                <a:gd name="T11" fmla="*/ 796 h 1107"/>
                <a:gd name="T12" fmla="*/ 467 w 763"/>
                <a:gd name="T13" fmla="*/ 801 h 1107"/>
                <a:gd name="T14" fmla="*/ 277 w 763"/>
                <a:gd name="T15" fmla="*/ 1106 h 1107"/>
                <a:gd name="T16" fmla="*/ 49 w 763"/>
                <a:gd name="T17" fmla="*/ 906 h 1107"/>
                <a:gd name="T18" fmla="*/ 15 w 763"/>
                <a:gd name="T19" fmla="*/ 900 h 1107"/>
                <a:gd name="T20" fmla="*/ 13 w 763"/>
                <a:gd name="T21" fmla="*/ 858 h 1107"/>
                <a:gd name="T22" fmla="*/ 0 w 763"/>
                <a:gd name="T23" fmla="*/ 845 h 1107"/>
                <a:gd name="T24" fmla="*/ 73 w 763"/>
                <a:gd name="T25" fmla="*/ 658 h 1107"/>
                <a:gd name="T26" fmla="*/ 108 w 763"/>
                <a:gd name="T27" fmla="*/ 685 h 1107"/>
                <a:gd name="T28" fmla="*/ 49 w 763"/>
                <a:gd name="T29" fmla="*/ 906 h 1107"/>
                <a:gd name="T30" fmla="*/ 499 w 763"/>
                <a:gd name="T31" fmla="*/ 703 h 1107"/>
                <a:gd name="T32" fmla="*/ 527 w 763"/>
                <a:gd name="T33" fmla="*/ 698 h 1107"/>
                <a:gd name="T34" fmla="*/ 524 w 763"/>
                <a:gd name="T35" fmla="*/ 570 h 1107"/>
                <a:gd name="T36" fmla="*/ 582 w 763"/>
                <a:gd name="T37" fmla="*/ 469 h 1107"/>
                <a:gd name="T38" fmla="*/ 584 w 763"/>
                <a:gd name="T39" fmla="*/ 496 h 1107"/>
                <a:gd name="T40" fmla="*/ 582 w 763"/>
                <a:gd name="T41" fmla="*/ 511 h 1107"/>
                <a:gd name="T42" fmla="*/ 573 w 763"/>
                <a:gd name="T43" fmla="*/ 531 h 1107"/>
                <a:gd name="T44" fmla="*/ 220 w 763"/>
                <a:gd name="T45" fmla="*/ 446 h 1107"/>
                <a:gd name="T46" fmla="*/ 166 w 763"/>
                <a:gd name="T47" fmla="*/ 426 h 1107"/>
                <a:gd name="T48" fmla="*/ 258 w 763"/>
                <a:gd name="T49" fmla="*/ 288 h 1107"/>
                <a:gd name="T50" fmla="*/ 230 w 763"/>
                <a:gd name="T51" fmla="*/ 446 h 1107"/>
                <a:gd name="T52" fmla="*/ 708 w 763"/>
                <a:gd name="T53" fmla="*/ 381 h 1107"/>
                <a:gd name="T54" fmla="*/ 668 w 763"/>
                <a:gd name="T55" fmla="*/ 316 h 1107"/>
                <a:gd name="T56" fmla="*/ 693 w 763"/>
                <a:gd name="T57" fmla="*/ 249 h 1107"/>
                <a:gd name="T58" fmla="*/ 751 w 763"/>
                <a:gd name="T59" fmla="*/ 225 h 1107"/>
                <a:gd name="T60" fmla="*/ 739 w 763"/>
                <a:gd name="T61" fmla="*/ 323 h 1107"/>
                <a:gd name="T62" fmla="*/ 708 w 763"/>
                <a:gd name="T63" fmla="*/ 381 h 1107"/>
                <a:gd name="T64" fmla="*/ 678 w 763"/>
                <a:gd name="T65" fmla="*/ 74 h 1107"/>
                <a:gd name="T66" fmla="*/ 653 w 763"/>
                <a:gd name="T67" fmla="*/ 51 h 1107"/>
                <a:gd name="T68" fmla="*/ 651 w 763"/>
                <a:gd name="T69" fmla="*/ 49 h 1107"/>
                <a:gd name="T70" fmla="*/ 727 w 763"/>
                <a:gd name="T71" fmla="*/ 84 h 1107"/>
                <a:gd name="T72" fmla="*/ 721 w 763"/>
                <a:gd name="T73" fmla="*/ 86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3" h="1107">
                  <a:moveTo>
                    <a:pt x="275" y="1107"/>
                  </a:moveTo>
                  <a:cubicBezTo>
                    <a:pt x="274" y="1107"/>
                    <a:pt x="273" y="1106"/>
                    <a:pt x="272" y="1104"/>
                  </a:cubicBezTo>
                  <a:cubicBezTo>
                    <a:pt x="269" y="1097"/>
                    <a:pt x="267" y="1091"/>
                    <a:pt x="264" y="1085"/>
                  </a:cubicBezTo>
                  <a:cubicBezTo>
                    <a:pt x="261" y="1078"/>
                    <a:pt x="258" y="1072"/>
                    <a:pt x="255" y="1065"/>
                  </a:cubicBezTo>
                  <a:cubicBezTo>
                    <a:pt x="252" y="1059"/>
                    <a:pt x="249" y="1054"/>
                    <a:pt x="246" y="1049"/>
                  </a:cubicBezTo>
                  <a:cubicBezTo>
                    <a:pt x="249" y="1044"/>
                    <a:pt x="253" y="1038"/>
                    <a:pt x="256" y="1033"/>
                  </a:cubicBezTo>
                  <a:cubicBezTo>
                    <a:pt x="262" y="1027"/>
                    <a:pt x="269" y="1022"/>
                    <a:pt x="276" y="1016"/>
                  </a:cubicBezTo>
                  <a:cubicBezTo>
                    <a:pt x="281" y="1012"/>
                    <a:pt x="282" y="1007"/>
                    <a:pt x="278" y="1002"/>
                  </a:cubicBezTo>
                  <a:cubicBezTo>
                    <a:pt x="278" y="1000"/>
                    <a:pt x="277" y="999"/>
                    <a:pt x="276" y="998"/>
                  </a:cubicBezTo>
                  <a:cubicBezTo>
                    <a:pt x="276" y="998"/>
                    <a:pt x="276" y="997"/>
                    <a:pt x="276" y="997"/>
                  </a:cubicBezTo>
                  <a:cubicBezTo>
                    <a:pt x="314" y="932"/>
                    <a:pt x="355" y="862"/>
                    <a:pt x="396" y="791"/>
                  </a:cubicBezTo>
                  <a:cubicBezTo>
                    <a:pt x="397" y="792"/>
                    <a:pt x="397" y="794"/>
                    <a:pt x="398" y="796"/>
                  </a:cubicBezTo>
                  <a:cubicBezTo>
                    <a:pt x="408" y="798"/>
                    <a:pt x="419" y="800"/>
                    <a:pt x="429" y="800"/>
                  </a:cubicBezTo>
                  <a:cubicBezTo>
                    <a:pt x="442" y="801"/>
                    <a:pt x="454" y="801"/>
                    <a:pt x="467" y="801"/>
                  </a:cubicBezTo>
                  <a:cubicBezTo>
                    <a:pt x="406" y="907"/>
                    <a:pt x="344" y="1014"/>
                    <a:pt x="292" y="1103"/>
                  </a:cubicBezTo>
                  <a:cubicBezTo>
                    <a:pt x="287" y="1104"/>
                    <a:pt x="282" y="1105"/>
                    <a:pt x="277" y="1106"/>
                  </a:cubicBezTo>
                  <a:cubicBezTo>
                    <a:pt x="276" y="1107"/>
                    <a:pt x="276" y="1107"/>
                    <a:pt x="275" y="1107"/>
                  </a:cubicBezTo>
                  <a:moveTo>
                    <a:pt x="49" y="906"/>
                  </a:moveTo>
                  <a:cubicBezTo>
                    <a:pt x="38" y="903"/>
                    <a:pt x="27" y="902"/>
                    <a:pt x="17" y="901"/>
                  </a:cubicBezTo>
                  <a:lnTo>
                    <a:pt x="15" y="900"/>
                  </a:lnTo>
                  <a:cubicBezTo>
                    <a:pt x="14" y="900"/>
                    <a:pt x="13" y="899"/>
                    <a:pt x="13" y="897"/>
                  </a:cubicBezTo>
                  <a:cubicBezTo>
                    <a:pt x="13" y="884"/>
                    <a:pt x="13" y="871"/>
                    <a:pt x="13" y="858"/>
                  </a:cubicBezTo>
                  <a:cubicBezTo>
                    <a:pt x="13" y="851"/>
                    <a:pt x="9" y="846"/>
                    <a:pt x="2" y="846"/>
                  </a:cubicBezTo>
                  <a:cubicBezTo>
                    <a:pt x="2" y="846"/>
                    <a:pt x="1" y="846"/>
                    <a:pt x="0" y="845"/>
                  </a:cubicBezTo>
                  <a:cubicBezTo>
                    <a:pt x="10" y="820"/>
                    <a:pt x="20" y="794"/>
                    <a:pt x="30" y="768"/>
                  </a:cubicBezTo>
                  <a:cubicBezTo>
                    <a:pt x="44" y="732"/>
                    <a:pt x="59" y="695"/>
                    <a:pt x="73" y="658"/>
                  </a:cubicBezTo>
                  <a:cubicBezTo>
                    <a:pt x="82" y="665"/>
                    <a:pt x="92" y="672"/>
                    <a:pt x="101" y="679"/>
                  </a:cubicBezTo>
                  <a:cubicBezTo>
                    <a:pt x="103" y="681"/>
                    <a:pt x="105" y="683"/>
                    <a:pt x="108" y="685"/>
                  </a:cubicBezTo>
                  <a:cubicBezTo>
                    <a:pt x="121" y="676"/>
                    <a:pt x="134" y="666"/>
                    <a:pt x="146" y="655"/>
                  </a:cubicBezTo>
                  <a:cubicBezTo>
                    <a:pt x="112" y="741"/>
                    <a:pt x="79" y="827"/>
                    <a:pt x="49" y="906"/>
                  </a:cubicBezTo>
                  <a:moveTo>
                    <a:pt x="480" y="780"/>
                  </a:moveTo>
                  <a:cubicBezTo>
                    <a:pt x="487" y="755"/>
                    <a:pt x="491" y="729"/>
                    <a:pt x="499" y="703"/>
                  </a:cubicBezTo>
                  <a:cubicBezTo>
                    <a:pt x="506" y="701"/>
                    <a:pt x="513" y="700"/>
                    <a:pt x="521" y="699"/>
                  </a:cubicBezTo>
                  <a:cubicBezTo>
                    <a:pt x="523" y="699"/>
                    <a:pt x="525" y="699"/>
                    <a:pt x="527" y="698"/>
                  </a:cubicBezTo>
                  <a:cubicBezTo>
                    <a:pt x="511" y="725"/>
                    <a:pt x="496" y="753"/>
                    <a:pt x="480" y="780"/>
                  </a:cubicBezTo>
                  <a:close/>
                  <a:moveTo>
                    <a:pt x="524" y="570"/>
                  </a:moveTo>
                  <a:cubicBezTo>
                    <a:pt x="533" y="555"/>
                    <a:pt x="541" y="540"/>
                    <a:pt x="549" y="526"/>
                  </a:cubicBezTo>
                  <a:cubicBezTo>
                    <a:pt x="561" y="506"/>
                    <a:pt x="572" y="487"/>
                    <a:pt x="582" y="469"/>
                  </a:cubicBezTo>
                  <a:cubicBezTo>
                    <a:pt x="583" y="473"/>
                    <a:pt x="584" y="477"/>
                    <a:pt x="584" y="481"/>
                  </a:cubicBezTo>
                  <a:cubicBezTo>
                    <a:pt x="585" y="486"/>
                    <a:pt x="585" y="491"/>
                    <a:pt x="584" y="496"/>
                  </a:cubicBezTo>
                  <a:lnTo>
                    <a:pt x="584" y="500"/>
                  </a:lnTo>
                  <a:cubicBezTo>
                    <a:pt x="583" y="504"/>
                    <a:pt x="583" y="508"/>
                    <a:pt x="582" y="511"/>
                  </a:cubicBezTo>
                  <a:cubicBezTo>
                    <a:pt x="581" y="515"/>
                    <a:pt x="579" y="518"/>
                    <a:pt x="578" y="521"/>
                  </a:cubicBezTo>
                  <a:cubicBezTo>
                    <a:pt x="577" y="525"/>
                    <a:pt x="575" y="528"/>
                    <a:pt x="573" y="531"/>
                  </a:cubicBezTo>
                  <a:cubicBezTo>
                    <a:pt x="563" y="549"/>
                    <a:pt x="545" y="564"/>
                    <a:pt x="524" y="570"/>
                  </a:cubicBezTo>
                  <a:moveTo>
                    <a:pt x="220" y="446"/>
                  </a:moveTo>
                  <a:cubicBezTo>
                    <a:pt x="212" y="446"/>
                    <a:pt x="203" y="445"/>
                    <a:pt x="195" y="442"/>
                  </a:cubicBezTo>
                  <a:cubicBezTo>
                    <a:pt x="185" y="439"/>
                    <a:pt x="174" y="434"/>
                    <a:pt x="166" y="426"/>
                  </a:cubicBezTo>
                  <a:cubicBezTo>
                    <a:pt x="187" y="373"/>
                    <a:pt x="208" y="323"/>
                    <a:pt x="226" y="279"/>
                  </a:cubicBezTo>
                  <a:cubicBezTo>
                    <a:pt x="237" y="280"/>
                    <a:pt x="248" y="283"/>
                    <a:pt x="258" y="288"/>
                  </a:cubicBezTo>
                  <a:cubicBezTo>
                    <a:pt x="268" y="293"/>
                    <a:pt x="278" y="300"/>
                    <a:pt x="285" y="310"/>
                  </a:cubicBezTo>
                  <a:cubicBezTo>
                    <a:pt x="268" y="351"/>
                    <a:pt x="249" y="397"/>
                    <a:pt x="230" y="446"/>
                  </a:cubicBezTo>
                  <a:cubicBezTo>
                    <a:pt x="227" y="446"/>
                    <a:pt x="223" y="446"/>
                    <a:pt x="220" y="446"/>
                  </a:cubicBezTo>
                  <a:close/>
                  <a:moveTo>
                    <a:pt x="708" y="381"/>
                  </a:moveTo>
                  <a:cubicBezTo>
                    <a:pt x="698" y="375"/>
                    <a:pt x="690" y="367"/>
                    <a:pt x="683" y="357"/>
                  </a:cubicBezTo>
                  <a:cubicBezTo>
                    <a:pt x="674" y="345"/>
                    <a:pt x="669" y="331"/>
                    <a:pt x="668" y="316"/>
                  </a:cubicBezTo>
                  <a:cubicBezTo>
                    <a:pt x="673" y="306"/>
                    <a:pt x="677" y="299"/>
                    <a:pt x="678" y="296"/>
                  </a:cubicBezTo>
                  <a:cubicBezTo>
                    <a:pt x="685" y="280"/>
                    <a:pt x="690" y="264"/>
                    <a:pt x="693" y="249"/>
                  </a:cubicBezTo>
                  <a:cubicBezTo>
                    <a:pt x="704" y="239"/>
                    <a:pt x="716" y="232"/>
                    <a:pt x="730" y="228"/>
                  </a:cubicBezTo>
                  <a:cubicBezTo>
                    <a:pt x="737" y="226"/>
                    <a:pt x="744" y="225"/>
                    <a:pt x="751" y="225"/>
                  </a:cubicBezTo>
                  <a:cubicBezTo>
                    <a:pt x="755" y="225"/>
                    <a:pt x="759" y="226"/>
                    <a:pt x="763" y="226"/>
                  </a:cubicBezTo>
                  <a:cubicBezTo>
                    <a:pt x="762" y="258"/>
                    <a:pt x="754" y="291"/>
                    <a:pt x="739" y="323"/>
                  </a:cubicBezTo>
                  <a:cubicBezTo>
                    <a:pt x="736" y="329"/>
                    <a:pt x="732" y="336"/>
                    <a:pt x="727" y="346"/>
                  </a:cubicBezTo>
                  <a:cubicBezTo>
                    <a:pt x="722" y="355"/>
                    <a:pt x="716" y="367"/>
                    <a:pt x="708" y="381"/>
                  </a:cubicBezTo>
                  <a:moveTo>
                    <a:pt x="721" y="86"/>
                  </a:moveTo>
                  <a:cubicBezTo>
                    <a:pt x="706" y="86"/>
                    <a:pt x="691" y="82"/>
                    <a:pt x="678" y="74"/>
                  </a:cubicBezTo>
                  <a:lnTo>
                    <a:pt x="677" y="74"/>
                  </a:lnTo>
                  <a:cubicBezTo>
                    <a:pt x="667" y="68"/>
                    <a:pt x="659" y="61"/>
                    <a:pt x="653" y="51"/>
                  </a:cubicBezTo>
                  <a:lnTo>
                    <a:pt x="651" y="49"/>
                  </a:lnTo>
                  <a:lnTo>
                    <a:pt x="651" y="49"/>
                  </a:lnTo>
                  <a:cubicBezTo>
                    <a:pt x="641" y="34"/>
                    <a:pt x="636" y="16"/>
                    <a:pt x="637" y="0"/>
                  </a:cubicBezTo>
                  <a:cubicBezTo>
                    <a:pt x="673" y="19"/>
                    <a:pt x="704" y="48"/>
                    <a:pt x="727" y="84"/>
                  </a:cubicBezTo>
                  <a:cubicBezTo>
                    <a:pt x="727" y="85"/>
                    <a:pt x="727" y="85"/>
                    <a:pt x="728" y="86"/>
                  </a:cubicBezTo>
                  <a:cubicBezTo>
                    <a:pt x="726" y="86"/>
                    <a:pt x="723" y="86"/>
                    <a:pt x="721" y="86"/>
                  </a:cubicBezTo>
                  <a:close/>
                </a:path>
              </a:pathLst>
            </a:custGeom>
            <a:solidFill>
              <a:srgbClr val="1B16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7">
              <a:extLst>
                <a:ext uri="{FF2B5EF4-FFF2-40B4-BE49-F238E27FC236}">
                  <a16:creationId xmlns:a16="http://schemas.microsoft.com/office/drawing/2014/main" id="{AD82894D-9859-3570-F820-EAA21A660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300663" y="3594100"/>
              <a:ext cx="155575" cy="185738"/>
            </a:xfrm>
            <a:custGeom>
              <a:avLst/>
              <a:gdLst>
                <a:gd name="T0" fmla="*/ 258 w 345"/>
                <a:gd name="T1" fmla="*/ 408 h 408"/>
                <a:gd name="T2" fmla="*/ 253 w 345"/>
                <a:gd name="T3" fmla="*/ 404 h 408"/>
                <a:gd name="T4" fmla="*/ 257 w 345"/>
                <a:gd name="T5" fmla="*/ 364 h 408"/>
                <a:gd name="T6" fmla="*/ 256 w 345"/>
                <a:gd name="T7" fmla="*/ 345 h 408"/>
                <a:gd name="T8" fmla="*/ 256 w 345"/>
                <a:gd name="T9" fmla="*/ 345 h 408"/>
                <a:gd name="T10" fmla="*/ 246 w 345"/>
                <a:gd name="T11" fmla="*/ 295 h 408"/>
                <a:gd name="T12" fmla="*/ 299 w 345"/>
                <a:gd name="T13" fmla="*/ 204 h 408"/>
                <a:gd name="T14" fmla="*/ 308 w 345"/>
                <a:gd name="T15" fmla="*/ 220 h 408"/>
                <a:gd name="T16" fmla="*/ 317 w 345"/>
                <a:gd name="T17" fmla="*/ 240 h 408"/>
                <a:gd name="T18" fmla="*/ 325 w 345"/>
                <a:gd name="T19" fmla="*/ 259 h 408"/>
                <a:gd name="T20" fmla="*/ 328 w 345"/>
                <a:gd name="T21" fmla="*/ 262 h 408"/>
                <a:gd name="T22" fmla="*/ 330 w 345"/>
                <a:gd name="T23" fmla="*/ 261 h 408"/>
                <a:gd name="T24" fmla="*/ 345 w 345"/>
                <a:gd name="T25" fmla="*/ 258 h 408"/>
                <a:gd name="T26" fmla="*/ 258 w 345"/>
                <a:gd name="T27" fmla="*/ 408 h 408"/>
                <a:gd name="T28" fmla="*/ 309 w 345"/>
                <a:gd name="T29" fmla="*/ 188 h 408"/>
                <a:gd name="T30" fmla="*/ 329 w 345"/>
                <a:gd name="T31" fmla="*/ 153 h 408"/>
                <a:gd name="T32" fmla="*/ 331 w 345"/>
                <a:gd name="T33" fmla="*/ 157 h 408"/>
                <a:gd name="T34" fmla="*/ 329 w 345"/>
                <a:gd name="T35" fmla="*/ 171 h 408"/>
                <a:gd name="T36" fmla="*/ 309 w 345"/>
                <a:gd name="T37" fmla="*/ 188 h 408"/>
                <a:gd name="T38" fmla="*/ 70 w 345"/>
                <a:gd name="T39" fmla="*/ 143 h 408"/>
                <a:gd name="T40" fmla="*/ 36 w 345"/>
                <a:gd name="T41" fmla="*/ 139 h 408"/>
                <a:gd name="T42" fmla="*/ 32 w 345"/>
                <a:gd name="T43" fmla="*/ 139 h 408"/>
                <a:gd name="T44" fmla="*/ 0 w 345"/>
                <a:gd name="T45" fmla="*/ 142 h 408"/>
                <a:gd name="T46" fmla="*/ 53 w 345"/>
                <a:gd name="T47" fmla="*/ 0 h 408"/>
                <a:gd name="T48" fmla="*/ 55 w 345"/>
                <a:gd name="T49" fmla="*/ 1 h 408"/>
                <a:gd name="T50" fmla="*/ 66 w 345"/>
                <a:gd name="T51" fmla="*/ 13 h 408"/>
                <a:gd name="T52" fmla="*/ 66 w 345"/>
                <a:gd name="T53" fmla="*/ 52 h 408"/>
                <a:gd name="T54" fmla="*/ 68 w 345"/>
                <a:gd name="T55" fmla="*/ 55 h 408"/>
                <a:gd name="T56" fmla="*/ 70 w 345"/>
                <a:gd name="T57" fmla="*/ 56 h 408"/>
                <a:gd name="T58" fmla="*/ 102 w 345"/>
                <a:gd name="T59" fmla="*/ 61 h 408"/>
                <a:gd name="T60" fmla="*/ 73 w 345"/>
                <a:gd name="T61" fmla="*/ 135 h 408"/>
                <a:gd name="T62" fmla="*/ 70 w 345"/>
                <a:gd name="T63" fmla="*/ 143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5" h="408">
                  <a:moveTo>
                    <a:pt x="258" y="408"/>
                  </a:moveTo>
                  <a:lnTo>
                    <a:pt x="253" y="404"/>
                  </a:lnTo>
                  <a:cubicBezTo>
                    <a:pt x="256" y="391"/>
                    <a:pt x="257" y="378"/>
                    <a:pt x="257" y="364"/>
                  </a:cubicBezTo>
                  <a:cubicBezTo>
                    <a:pt x="257" y="358"/>
                    <a:pt x="257" y="351"/>
                    <a:pt x="256" y="345"/>
                  </a:cubicBezTo>
                  <a:lnTo>
                    <a:pt x="256" y="345"/>
                  </a:lnTo>
                  <a:cubicBezTo>
                    <a:pt x="255" y="328"/>
                    <a:pt x="251" y="311"/>
                    <a:pt x="246" y="295"/>
                  </a:cubicBezTo>
                  <a:cubicBezTo>
                    <a:pt x="262" y="268"/>
                    <a:pt x="280" y="237"/>
                    <a:pt x="299" y="204"/>
                  </a:cubicBezTo>
                  <a:cubicBezTo>
                    <a:pt x="302" y="209"/>
                    <a:pt x="305" y="214"/>
                    <a:pt x="308" y="220"/>
                  </a:cubicBezTo>
                  <a:cubicBezTo>
                    <a:pt x="311" y="227"/>
                    <a:pt x="314" y="233"/>
                    <a:pt x="317" y="240"/>
                  </a:cubicBezTo>
                  <a:cubicBezTo>
                    <a:pt x="320" y="246"/>
                    <a:pt x="322" y="252"/>
                    <a:pt x="325" y="259"/>
                  </a:cubicBezTo>
                  <a:cubicBezTo>
                    <a:pt x="326" y="261"/>
                    <a:pt x="327" y="262"/>
                    <a:pt x="328" y="262"/>
                  </a:cubicBezTo>
                  <a:cubicBezTo>
                    <a:pt x="329" y="262"/>
                    <a:pt x="329" y="262"/>
                    <a:pt x="330" y="261"/>
                  </a:cubicBezTo>
                  <a:cubicBezTo>
                    <a:pt x="335" y="260"/>
                    <a:pt x="340" y="259"/>
                    <a:pt x="345" y="258"/>
                  </a:cubicBezTo>
                  <a:cubicBezTo>
                    <a:pt x="310" y="319"/>
                    <a:pt x="279" y="371"/>
                    <a:pt x="258" y="408"/>
                  </a:cubicBezTo>
                  <a:moveTo>
                    <a:pt x="309" y="188"/>
                  </a:moveTo>
                  <a:cubicBezTo>
                    <a:pt x="315" y="177"/>
                    <a:pt x="322" y="165"/>
                    <a:pt x="329" y="153"/>
                  </a:cubicBezTo>
                  <a:cubicBezTo>
                    <a:pt x="330" y="154"/>
                    <a:pt x="331" y="155"/>
                    <a:pt x="331" y="157"/>
                  </a:cubicBezTo>
                  <a:cubicBezTo>
                    <a:pt x="335" y="162"/>
                    <a:pt x="334" y="167"/>
                    <a:pt x="329" y="171"/>
                  </a:cubicBezTo>
                  <a:cubicBezTo>
                    <a:pt x="322" y="177"/>
                    <a:pt x="315" y="182"/>
                    <a:pt x="309" y="188"/>
                  </a:cubicBezTo>
                  <a:moveTo>
                    <a:pt x="70" y="143"/>
                  </a:moveTo>
                  <a:cubicBezTo>
                    <a:pt x="59" y="141"/>
                    <a:pt x="48" y="140"/>
                    <a:pt x="36" y="139"/>
                  </a:cubicBezTo>
                  <a:lnTo>
                    <a:pt x="32" y="139"/>
                  </a:lnTo>
                  <a:cubicBezTo>
                    <a:pt x="21" y="139"/>
                    <a:pt x="10" y="140"/>
                    <a:pt x="0" y="142"/>
                  </a:cubicBezTo>
                  <a:cubicBezTo>
                    <a:pt x="16" y="98"/>
                    <a:pt x="34" y="51"/>
                    <a:pt x="53" y="0"/>
                  </a:cubicBezTo>
                  <a:cubicBezTo>
                    <a:pt x="54" y="1"/>
                    <a:pt x="55" y="1"/>
                    <a:pt x="55" y="1"/>
                  </a:cubicBezTo>
                  <a:cubicBezTo>
                    <a:pt x="62" y="1"/>
                    <a:pt x="66" y="6"/>
                    <a:pt x="66" y="13"/>
                  </a:cubicBezTo>
                  <a:cubicBezTo>
                    <a:pt x="66" y="26"/>
                    <a:pt x="66" y="39"/>
                    <a:pt x="66" y="52"/>
                  </a:cubicBezTo>
                  <a:cubicBezTo>
                    <a:pt x="66" y="54"/>
                    <a:pt x="67" y="55"/>
                    <a:pt x="68" y="55"/>
                  </a:cubicBezTo>
                  <a:lnTo>
                    <a:pt x="70" y="56"/>
                  </a:lnTo>
                  <a:cubicBezTo>
                    <a:pt x="80" y="57"/>
                    <a:pt x="91" y="58"/>
                    <a:pt x="102" y="61"/>
                  </a:cubicBezTo>
                  <a:cubicBezTo>
                    <a:pt x="92" y="86"/>
                    <a:pt x="82" y="111"/>
                    <a:pt x="73" y="135"/>
                  </a:cubicBezTo>
                  <a:cubicBezTo>
                    <a:pt x="72" y="137"/>
                    <a:pt x="71" y="140"/>
                    <a:pt x="70" y="143"/>
                  </a:cubicBezTo>
                  <a:close/>
                </a:path>
              </a:pathLst>
            </a:custGeom>
            <a:solidFill>
              <a:srgbClr val="5D68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8">
              <a:extLst>
                <a:ext uri="{FF2B5EF4-FFF2-40B4-BE49-F238E27FC236}">
                  <a16:creationId xmlns:a16="http://schemas.microsoft.com/office/drawing/2014/main" id="{ECB5D4F9-71ED-8F00-41F7-95DD44ACD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87950" y="3778250"/>
              <a:ext cx="4763" cy="7938"/>
            </a:xfrm>
            <a:custGeom>
              <a:avLst/>
              <a:gdLst>
                <a:gd name="T0" fmla="*/ 0 w 9"/>
                <a:gd name="T1" fmla="*/ 19 h 19"/>
                <a:gd name="T2" fmla="*/ 4 w 9"/>
                <a:gd name="T3" fmla="*/ 0 h 19"/>
                <a:gd name="T4" fmla="*/ 4 w 9"/>
                <a:gd name="T5" fmla="*/ 0 h 19"/>
                <a:gd name="T6" fmla="*/ 9 w 9"/>
                <a:gd name="T7" fmla="*/ 4 h 19"/>
                <a:gd name="T8" fmla="*/ 0 w 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0" y="19"/>
                  </a:moveTo>
                  <a:cubicBezTo>
                    <a:pt x="2" y="13"/>
                    <a:pt x="3" y="7"/>
                    <a:pt x="4" y="0"/>
                  </a:cubicBezTo>
                  <a:lnTo>
                    <a:pt x="4" y="0"/>
                  </a:lnTo>
                  <a:lnTo>
                    <a:pt x="9" y="4"/>
                  </a:lnTo>
                  <a:cubicBezTo>
                    <a:pt x="6" y="10"/>
                    <a:pt x="3" y="14"/>
                    <a:pt x="0" y="19"/>
                  </a:cubicBezTo>
                </a:path>
              </a:pathLst>
            </a:cu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9">
              <a:extLst>
                <a:ext uri="{FF2B5EF4-FFF2-40B4-BE49-F238E27FC236}">
                  <a16:creationId xmlns:a16="http://schemas.microsoft.com/office/drawing/2014/main" id="{53FB7123-FD81-7299-D1A4-D9976D9D5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35588" y="3657600"/>
              <a:ext cx="150813" cy="187325"/>
            </a:xfrm>
            <a:custGeom>
              <a:avLst/>
              <a:gdLst>
                <a:gd name="T0" fmla="*/ 147 w 336"/>
                <a:gd name="T1" fmla="*/ 411 h 411"/>
                <a:gd name="T2" fmla="*/ 103 w 336"/>
                <a:gd name="T3" fmla="*/ 404 h 411"/>
                <a:gd name="T4" fmla="*/ 54 w 336"/>
                <a:gd name="T5" fmla="*/ 376 h 411"/>
                <a:gd name="T6" fmla="*/ 11 w 336"/>
                <a:gd name="T7" fmla="*/ 316 h 411"/>
                <a:gd name="T8" fmla="*/ 0 w 336"/>
                <a:gd name="T9" fmla="*/ 257 h 411"/>
                <a:gd name="T10" fmla="*/ 5 w 336"/>
                <a:gd name="T11" fmla="*/ 210 h 411"/>
                <a:gd name="T12" fmla="*/ 11 w 336"/>
                <a:gd name="T13" fmla="*/ 188 h 411"/>
                <a:gd name="T14" fmla="*/ 22 w 336"/>
                <a:gd name="T15" fmla="*/ 156 h 411"/>
                <a:gd name="T16" fmla="*/ 57 w 336"/>
                <a:gd name="T17" fmla="*/ 61 h 411"/>
                <a:gd name="T18" fmla="*/ 79 w 336"/>
                <a:gd name="T19" fmla="*/ 3 h 411"/>
                <a:gd name="T20" fmla="*/ 111 w 336"/>
                <a:gd name="T21" fmla="*/ 0 h 411"/>
                <a:gd name="T22" fmla="*/ 115 w 336"/>
                <a:gd name="T23" fmla="*/ 0 h 411"/>
                <a:gd name="T24" fmla="*/ 149 w 336"/>
                <a:gd name="T25" fmla="*/ 4 h 411"/>
                <a:gd name="T26" fmla="*/ 76 w 336"/>
                <a:gd name="T27" fmla="*/ 205 h 411"/>
                <a:gd name="T28" fmla="*/ 70 w 336"/>
                <a:gd name="T29" fmla="*/ 225 h 411"/>
                <a:gd name="T30" fmla="*/ 66 w 336"/>
                <a:gd name="T31" fmla="*/ 257 h 411"/>
                <a:gd name="T32" fmla="*/ 72 w 336"/>
                <a:gd name="T33" fmla="*/ 291 h 411"/>
                <a:gd name="T34" fmla="*/ 87 w 336"/>
                <a:gd name="T35" fmla="*/ 315 h 411"/>
                <a:gd name="T36" fmla="*/ 127 w 336"/>
                <a:gd name="T37" fmla="*/ 342 h 411"/>
                <a:gd name="T38" fmla="*/ 147 w 336"/>
                <a:gd name="T39" fmla="*/ 345 h 411"/>
                <a:gd name="T40" fmla="*/ 147 w 336"/>
                <a:gd name="T41" fmla="*/ 345 h 411"/>
                <a:gd name="T42" fmla="*/ 148 w 336"/>
                <a:gd name="T43" fmla="*/ 345 h 411"/>
                <a:gd name="T44" fmla="*/ 204 w 336"/>
                <a:gd name="T45" fmla="*/ 331 h 411"/>
                <a:gd name="T46" fmla="*/ 245 w 336"/>
                <a:gd name="T47" fmla="*/ 296 h 411"/>
                <a:gd name="T48" fmla="*/ 245 w 336"/>
                <a:gd name="T49" fmla="*/ 296 h 411"/>
                <a:gd name="T50" fmla="*/ 262 w 336"/>
                <a:gd name="T51" fmla="*/ 266 h 411"/>
                <a:gd name="T52" fmla="*/ 297 w 336"/>
                <a:gd name="T53" fmla="*/ 204 h 411"/>
                <a:gd name="T54" fmla="*/ 325 w 336"/>
                <a:gd name="T55" fmla="*/ 156 h 411"/>
                <a:gd name="T56" fmla="*/ 335 w 336"/>
                <a:gd name="T57" fmla="*/ 206 h 411"/>
                <a:gd name="T58" fmla="*/ 335 w 336"/>
                <a:gd name="T59" fmla="*/ 206 h 411"/>
                <a:gd name="T60" fmla="*/ 336 w 336"/>
                <a:gd name="T61" fmla="*/ 225 h 411"/>
                <a:gd name="T62" fmla="*/ 332 w 336"/>
                <a:gd name="T63" fmla="*/ 265 h 411"/>
                <a:gd name="T64" fmla="*/ 332 w 336"/>
                <a:gd name="T65" fmla="*/ 265 h 411"/>
                <a:gd name="T66" fmla="*/ 328 w 336"/>
                <a:gd name="T67" fmla="*/ 284 h 411"/>
                <a:gd name="T68" fmla="*/ 313 w 336"/>
                <a:gd name="T69" fmla="*/ 311 h 411"/>
                <a:gd name="T70" fmla="*/ 303 w 336"/>
                <a:gd name="T71" fmla="*/ 328 h 411"/>
                <a:gd name="T72" fmla="*/ 303 w 336"/>
                <a:gd name="T73" fmla="*/ 328 h 411"/>
                <a:gd name="T74" fmla="*/ 232 w 336"/>
                <a:gd name="T75" fmla="*/ 391 h 411"/>
                <a:gd name="T76" fmla="*/ 147 w 336"/>
                <a:gd name="T77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6" h="411">
                  <a:moveTo>
                    <a:pt x="147" y="411"/>
                  </a:moveTo>
                  <a:cubicBezTo>
                    <a:pt x="132" y="411"/>
                    <a:pt x="117" y="409"/>
                    <a:pt x="103" y="404"/>
                  </a:cubicBezTo>
                  <a:cubicBezTo>
                    <a:pt x="89" y="398"/>
                    <a:pt x="72" y="390"/>
                    <a:pt x="54" y="376"/>
                  </a:cubicBezTo>
                  <a:cubicBezTo>
                    <a:pt x="37" y="361"/>
                    <a:pt x="21" y="342"/>
                    <a:pt x="11" y="316"/>
                  </a:cubicBezTo>
                  <a:cubicBezTo>
                    <a:pt x="4" y="298"/>
                    <a:pt x="0" y="279"/>
                    <a:pt x="0" y="257"/>
                  </a:cubicBezTo>
                  <a:cubicBezTo>
                    <a:pt x="0" y="242"/>
                    <a:pt x="1" y="226"/>
                    <a:pt x="5" y="210"/>
                  </a:cubicBezTo>
                  <a:cubicBezTo>
                    <a:pt x="6" y="204"/>
                    <a:pt x="8" y="197"/>
                    <a:pt x="11" y="188"/>
                  </a:cubicBezTo>
                  <a:cubicBezTo>
                    <a:pt x="14" y="180"/>
                    <a:pt x="18" y="169"/>
                    <a:pt x="22" y="156"/>
                  </a:cubicBezTo>
                  <a:cubicBezTo>
                    <a:pt x="31" y="131"/>
                    <a:pt x="43" y="99"/>
                    <a:pt x="57" y="61"/>
                  </a:cubicBezTo>
                  <a:cubicBezTo>
                    <a:pt x="64" y="42"/>
                    <a:pt x="71" y="23"/>
                    <a:pt x="79" y="3"/>
                  </a:cubicBezTo>
                  <a:cubicBezTo>
                    <a:pt x="89" y="1"/>
                    <a:pt x="100" y="0"/>
                    <a:pt x="111" y="0"/>
                  </a:cubicBezTo>
                  <a:lnTo>
                    <a:pt x="115" y="0"/>
                  </a:lnTo>
                  <a:cubicBezTo>
                    <a:pt x="127" y="1"/>
                    <a:pt x="138" y="2"/>
                    <a:pt x="149" y="4"/>
                  </a:cubicBezTo>
                  <a:cubicBezTo>
                    <a:pt x="115" y="95"/>
                    <a:pt x="88" y="169"/>
                    <a:pt x="76" y="205"/>
                  </a:cubicBezTo>
                  <a:cubicBezTo>
                    <a:pt x="73" y="215"/>
                    <a:pt x="71" y="222"/>
                    <a:pt x="70" y="225"/>
                  </a:cubicBezTo>
                  <a:cubicBezTo>
                    <a:pt x="67" y="237"/>
                    <a:pt x="66" y="247"/>
                    <a:pt x="66" y="257"/>
                  </a:cubicBezTo>
                  <a:cubicBezTo>
                    <a:pt x="66" y="271"/>
                    <a:pt x="69" y="282"/>
                    <a:pt x="72" y="291"/>
                  </a:cubicBezTo>
                  <a:cubicBezTo>
                    <a:pt x="76" y="301"/>
                    <a:pt x="81" y="308"/>
                    <a:pt x="87" y="315"/>
                  </a:cubicBezTo>
                  <a:cubicBezTo>
                    <a:pt x="99" y="328"/>
                    <a:pt x="115" y="337"/>
                    <a:pt x="127" y="342"/>
                  </a:cubicBezTo>
                  <a:cubicBezTo>
                    <a:pt x="131" y="343"/>
                    <a:pt x="138" y="345"/>
                    <a:pt x="147" y="345"/>
                  </a:cubicBezTo>
                  <a:lnTo>
                    <a:pt x="147" y="345"/>
                  </a:lnTo>
                  <a:lnTo>
                    <a:pt x="148" y="345"/>
                  </a:lnTo>
                  <a:cubicBezTo>
                    <a:pt x="164" y="345"/>
                    <a:pt x="185" y="340"/>
                    <a:pt x="204" y="331"/>
                  </a:cubicBezTo>
                  <a:cubicBezTo>
                    <a:pt x="222" y="322"/>
                    <a:pt x="237" y="310"/>
                    <a:pt x="245" y="296"/>
                  </a:cubicBezTo>
                  <a:lnTo>
                    <a:pt x="245" y="296"/>
                  </a:lnTo>
                  <a:cubicBezTo>
                    <a:pt x="247" y="291"/>
                    <a:pt x="253" y="281"/>
                    <a:pt x="262" y="266"/>
                  </a:cubicBezTo>
                  <a:cubicBezTo>
                    <a:pt x="271" y="250"/>
                    <a:pt x="283" y="229"/>
                    <a:pt x="297" y="204"/>
                  </a:cubicBezTo>
                  <a:cubicBezTo>
                    <a:pt x="306" y="190"/>
                    <a:pt x="315" y="174"/>
                    <a:pt x="325" y="156"/>
                  </a:cubicBezTo>
                  <a:cubicBezTo>
                    <a:pt x="330" y="172"/>
                    <a:pt x="334" y="189"/>
                    <a:pt x="335" y="206"/>
                  </a:cubicBezTo>
                  <a:lnTo>
                    <a:pt x="335" y="206"/>
                  </a:lnTo>
                  <a:cubicBezTo>
                    <a:pt x="336" y="212"/>
                    <a:pt x="336" y="219"/>
                    <a:pt x="336" y="225"/>
                  </a:cubicBezTo>
                  <a:cubicBezTo>
                    <a:pt x="336" y="239"/>
                    <a:pt x="335" y="252"/>
                    <a:pt x="332" y="265"/>
                  </a:cubicBezTo>
                  <a:lnTo>
                    <a:pt x="332" y="265"/>
                  </a:lnTo>
                  <a:cubicBezTo>
                    <a:pt x="331" y="272"/>
                    <a:pt x="330" y="278"/>
                    <a:pt x="328" y="284"/>
                  </a:cubicBezTo>
                  <a:cubicBezTo>
                    <a:pt x="322" y="295"/>
                    <a:pt x="317" y="304"/>
                    <a:pt x="313" y="311"/>
                  </a:cubicBezTo>
                  <a:cubicBezTo>
                    <a:pt x="308" y="320"/>
                    <a:pt x="304" y="326"/>
                    <a:pt x="303" y="328"/>
                  </a:cubicBezTo>
                  <a:lnTo>
                    <a:pt x="303" y="328"/>
                  </a:lnTo>
                  <a:cubicBezTo>
                    <a:pt x="286" y="358"/>
                    <a:pt x="260" y="378"/>
                    <a:pt x="232" y="391"/>
                  </a:cubicBezTo>
                  <a:cubicBezTo>
                    <a:pt x="205" y="405"/>
                    <a:pt x="175" y="411"/>
                    <a:pt x="147" y="411"/>
                  </a:cubicBezTo>
                </a:path>
              </a:pathLst>
            </a:custGeom>
            <a:solidFill>
              <a:srgbClr val="3E3D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80">
              <a:extLst>
                <a:ext uri="{FF2B5EF4-FFF2-40B4-BE49-F238E27FC236}">
                  <a16:creationId xmlns:a16="http://schemas.microsoft.com/office/drawing/2014/main" id="{B688FF52-ED12-A47D-CAA5-6C954741DF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10175" y="3194050"/>
              <a:ext cx="279400" cy="293688"/>
            </a:xfrm>
            <a:custGeom>
              <a:avLst/>
              <a:gdLst>
                <a:gd name="T0" fmla="*/ 351 w 616"/>
                <a:gd name="T1" fmla="*/ 643 h 643"/>
                <a:gd name="T2" fmla="*/ 376 w 616"/>
                <a:gd name="T3" fmla="*/ 599 h 643"/>
                <a:gd name="T4" fmla="*/ 425 w 616"/>
                <a:gd name="T5" fmla="*/ 560 h 643"/>
                <a:gd name="T6" fmla="*/ 430 w 616"/>
                <a:gd name="T7" fmla="*/ 550 h 643"/>
                <a:gd name="T8" fmla="*/ 434 w 616"/>
                <a:gd name="T9" fmla="*/ 540 h 643"/>
                <a:gd name="T10" fmla="*/ 436 w 616"/>
                <a:gd name="T11" fmla="*/ 529 h 643"/>
                <a:gd name="T12" fmla="*/ 436 w 616"/>
                <a:gd name="T13" fmla="*/ 525 h 643"/>
                <a:gd name="T14" fmla="*/ 436 w 616"/>
                <a:gd name="T15" fmla="*/ 510 h 643"/>
                <a:gd name="T16" fmla="*/ 434 w 616"/>
                <a:gd name="T17" fmla="*/ 498 h 643"/>
                <a:gd name="T18" fmla="*/ 519 w 616"/>
                <a:gd name="T19" fmla="*/ 345 h 643"/>
                <a:gd name="T20" fmla="*/ 520 w 616"/>
                <a:gd name="T21" fmla="*/ 345 h 643"/>
                <a:gd name="T22" fmla="*/ 535 w 616"/>
                <a:gd name="T23" fmla="*/ 386 h 643"/>
                <a:gd name="T24" fmla="*/ 560 w 616"/>
                <a:gd name="T25" fmla="*/ 410 h 643"/>
                <a:gd name="T26" fmla="*/ 560 w 616"/>
                <a:gd name="T27" fmla="*/ 411 h 643"/>
                <a:gd name="T28" fmla="*/ 500 w 616"/>
                <a:gd name="T29" fmla="*/ 517 h 643"/>
                <a:gd name="T30" fmla="*/ 436 w 616"/>
                <a:gd name="T31" fmla="*/ 628 h 643"/>
                <a:gd name="T32" fmla="*/ 392 w 616"/>
                <a:gd name="T33" fmla="*/ 638 h 643"/>
                <a:gd name="T34" fmla="*/ 366 w 616"/>
                <a:gd name="T35" fmla="*/ 641 h 643"/>
                <a:gd name="T36" fmla="*/ 351 w 616"/>
                <a:gd name="T37" fmla="*/ 643 h 643"/>
                <a:gd name="T38" fmla="*/ 52 w 616"/>
                <a:gd name="T39" fmla="*/ 549 h 643"/>
                <a:gd name="T40" fmla="*/ 25 w 616"/>
                <a:gd name="T41" fmla="*/ 526 h 643"/>
                <a:gd name="T42" fmla="*/ 0 w 616"/>
                <a:gd name="T43" fmla="*/ 500 h 643"/>
                <a:gd name="T44" fmla="*/ 18 w 616"/>
                <a:gd name="T45" fmla="*/ 455 h 643"/>
                <a:gd name="T46" fmla="*/ 47 w 616"/>
                <a:gd name="T47" fmla="*/ 471 h 643"/>
                <a:gd name="T48" fmla="*/ 72 w 616"/>
                <a:gd name="T49" fmla="*/ 475 h 643"/>
                <a:gd name="T50" fmla="*/ 82 w 616"/>
                <a:gd name="T51" fmla="*/ 475 h 643"/>
                <a:gd name="T52" fmla="*/ 63 w 616"/>
                <a:gd name="T53" fmla="*/ 520 h 643"/>
                <a:gd name="T54" fmla="*/ 52 w 616"/>
                <a:gd name="T55" fmla="*/ 549 h 643"/>
                <a:gd name="T56" fmla="*/ 137 w 616"/>
                <a:gd name="T57" fmla="*/ 339 h 643"/>
                <a:gd name="T58" fmla="*/ 110 w 616"/>
                <a:gd name="T59" fmla="*/ 317 h 643"/>
                <a:gd name="T60" fmla="*/ 78 w 616"/>
                <a:gd name="T61" fmla="*/ 308 h 643"/>
                <a:gd name="T62" fmla="*/ 110 w 616"/>
                <a:gd name="T63" fmla="*/ 232 h 643"/>
                <a:gd name="T64" fmla="*/ 147 w 616"/>
                <a:gd name="T65" fmla="*/ 149 h 643"/>
                <a:gd name="T66" fmla="*/ 248 w 616"/>
                <a:gd name="T67" fmla="*/ 36 h 643"/>
                <a:gd name="T68" fmla="*/ 375 w 616"/>
                <a:gd name="T69" fmla="*/ 0 h 643"/>
                <a:gd name="T70" fmla="*/ 375 w 616"/>
                <a:gd name="T71" fmla="*/ 0 h 643"/>
                <a:gd name="T72" fmla="*/ 486 w 616"/>
                <a:gd name="T73" fmla="*/ 27 h 643"/>
                <a:gd name="T74" fmla="*/ 471 w 616"/>
                <a:gd name="T75" fmla="*/ 57 h 643"/>
                <a:gd name="T76" fmla="*/ 486 w 616"/>
                <a:gd name="T77" fmla="*/ 27 h 643"/>
                <a:gd name="T78" fmla="*/ 489 w 616"/>
                <a:gd name="T79" fmla="*/ 29 h 643"/>
                <a:gd name="T80" fmla="*/ 503 w 616"/>
                <a:gd name="T81" fmla="*/ 78 h 643"/>
                <a:gd name="T82" fmla="*/ 503 w 616"/>
                <a:gd name="T83" fmla="*/ 78 h 643"/>
                <a:gd name="T84" fmla="*/ 505 w 616"/>
                <a:gd name="T85" fmla="*/ 80 h 643"/>
                <a:gd name="T86" fmla="*/ 529 w 616"/>
                <a:gd name="T87" fmla="*/ 103 h 643"/>
                <a:gd name="T88" fmla="*/ 530 w 616"/>
                <a:gd name="T89" fmla="*/ 103 h 643"/>
                <a:gd name="T90" fmla="*/ 573 w 616"/>
                <a:gd name="T91" fmla="*/ 115 h 643"/>
                <a:gd name="T92" fmla="*/ 580 w 616"/>
                <a:gd name="T93" fmla="*/ 115 h 643"/>
                <a:gd name="T94" fmla="*/ 616 w 616"/>
                <a:gd name="T95" fmla="*/ 241 h 643"/>
                <a:gd name="T96" fmla="*/ 615 w 616"/>
                <a:gd name="T97" fmla="*/ 255 h 643"/>
                <a:gd name="T98" fmla="*/ 603 w 616"/>
                <a:gd name="T99" fmla="*/ 254 h 643"/>
                <a:gd name="T100" fmla="*/ 582 w 616"/>
                <a:gd name="T101" fmla="*/ 257 h 643"/>
                <a:gd name="T102" fmla="*/ 545 w 616"/>
                <a:gd name="T103" fmla="*/ 278 h 643"/>
                <a:gd name="T104" fmla="*/ 549 w 616"/>
                <a:gd name="T105" fmla="*/ 241 h 643"/>
                <a:gd name="T106" fmla="*/ 522 w 616"/>
                <a:gd name="T107" fmla="*/ 148 h 643"/>
                <a:gd name="T108" fmla="*/ 455 w 616"/>
                <a:gd name="T109" fmla="*/ 86 h 643"/>
                <a:gd name="T110" fmla="*/ 455 w 616"/>
                <a:gd name="T111" fmla="*/ 86 h 643"/>
                <a:gd name="T112" fmla="*/ 375 w 616"/>
                <a:gd name="T113" fmla="*/ 67 h 643"/>
                <a:gd name="T114" fmla="*/ 283 w 616"/>
                <a:gd name="T115" fmla="*/ 93 h 643"/>
                <a:gd name="T116" fmla="*/ 207 w 616"/>
                <a:gd name="T117" fmla="*/ 179 h 643"/>
                <a:gd name="T118" fmla="*/ 151 w 616"/>
                <a:gd name="T119" fmla="*/ 306 h 643"/>
                <a:gd name="T120" fmla="*/ 137 w 616"/>
                <a:gd name="T121" fmla="*/ 339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6" h="643">
                  <a:moveTo>
                    <a:pt x="351" y="643"/>
                  </a:moveTo>
                  <a:cubicBezTo>
                    <a:pt x="359" y="628"/>
                    <a:pt x="368" y="613"/>
                    <a:pt x="376" y="599"/>
                  </a:cubicBezTo>
                  <a:cubicBezTo>
                    <a:pt x="397" y="593"/>
                    <a:pt x="415" y="578"/>
                    <a:pt x="425" y="560"/>
                  </a:cubicBezTo>
                  <a:cubicBezTo>
                    <a:pt x="427" y="557"/>
                    <a:pt x="429" y="554"/>
                    <a:pt x="430" y="550"/>
                  </a:cubicBezTo>
                  <a:cubicBezTo>
                    <a:pt x="431" y="547"/>
                    <a:pt x="433" y="544"/>
                    <a:pt x="434" y="540"/>
                  </a:cubicBezTo>
                  <a:cubicBezTo>
                    <a:pt x="435" y="537"/>
                    <a:pt x="435" y="533"/>
                    <a:pt x="436" y="529"/>
                  </a:cubicBezTo>
                  <a:lnTo>
                    <a:pt x="436" y="525"/>
                  </a:lnTo>
                  <a:cubicBezTo>
                    <a:pt x="437" y="520"/>
                    <a:pt x="437" y="515"/>
                    <a:pt x="436" y="510"/>
                  </a:cubicBezTo>
                  <a:cubicBezTo>
                    <a:pt x="436" y="506"/>
                    <a:pt x="435" y="502"/>
                    <a:pt x="434" y="498"/>
                  </a:cubicBezTo>
                  <a:cubicBezTo>
                    <a:pt x="473" y="430"/>
                    <a:pt x="503" y="375"/>
                    <a:pt x="519" y="345"/>
                  </a:cubicBezTo>
                  <a:cubicBezTo>
                    <a:pt x="520" y="345"/>
                    <a:pt x="520" y="345"/>
                    <a:pt x="520" y="345"/>
                  </a:cubicBezTo>
                  <a:cubicBezTo>
                    <a:pt x="521" y="360"/>
                    <a:pt x="526" y="374"/>
                    <a:pt x="535" y="386"/>
                  </a:cubicBezTo>
                  <a:cubicBezTo>
                    <a:pt x="542" y="396"/>
                    <a:pt x="550" y="404"/>
                    <a:pt x="560" y="410"/>
                  </a:cubicBezTo>
                  <a:cubicBezTo>
                    <a:pt x="560" y="410"/>
                    <a:pt x="560" y="410"/>
                    <a:pt x="560" y="411"/>
                  </a:cubicBezTo>
                  <a:cubicBezTo>
                    <a:pt x="544" y="439"/>
                    <a:pt x="524" y="475"/>
                    <a:pt x="500" y="517"/>
                  </a:cubicBezTo>
                  <a:cubicBezTo>
                    <a:pt x="481" y="551"/>
                    <a:pt x="459" y="588"/>
                    <a:pt x="436" y="628"/>
                  </a:cubicBezTo>
                  <a:cubicBezTo>
                    <a:pt x="422" y="632"/>
                    <a:pt x="407" y="635"/>
                    <a:pt x="392" y="638"/>
                  </a:cubicBezTo>
                  <a:cubicBezTo>
                    <a:pt x="383" y="639"/>
                    <a:pt x="375" y="640"/>
                    <a:pt x="366" y="641"/>
                  </a:cubicBezTo>
                  <a:cubicBezTo>
                    <a:pt x="361" y="642"/>
                    <a:pt x="356" y="642"/>
                    <a:pt x="351" y="643"/>
                  </a:cubicBezTo>
                  <a:moveTo>
                    <a:pt x="52" y="549"/>
                  </a:moveTo>
                  <a:cubicBezTo>
                    <a:pt x="43" y="542"/>
                    <a:pt x="34" y="534"/>
                    <a:pt x="25" y="526"/>
                  </a:cubicBezTo>
                  <a:cubicBezTo>
                    <a:pt x="16" y="518"/>
                    <a:pt x="8" y="509"/>
                    <a:pt x="0" y="500"/>
                  </a:cubicBezTo>
                  <a:cubicBezTo>
                    <a:pt x="6" y="485"/>
                    <a:pt x="12" y="470"/>
                    <a:pt x="18" y="455"/>
                  </a:cubicBezTo>
                  <a:cubicBezTo>
                    <a:pt x="26" y="463"/>
                    <a:pt x="37" y="468"/>
                    <a:pt x="47" y="471"/>
                  </a:cubicBezTo>
                  <a:cubicBezTo>
                    <a:pt x="55" y="474"/>
                    <a:pt x="64" y="475"/>
                    <a:pt x="72" y="475"/>
                  </a:cubicBezTo>
                  <a:cubicBezTo>
                    <a:pt x="75" y="475"/>
                    <a:pt x="79" y="475"/>
                    <a:pt x="82" y="475"/>
                  </a:cubicBezTo>
                  <a:cubicBezTo>
                    <a:pt x="76" y="490"/>
                    <a:pt x="70" y="505"/>
                    <a:pt x="63" y="520"/>
                  </a:cubicBezTo>
                  <a:cubicBezTo>
                    <a:pt x="59" y="530"/>
                    <a:pt x="56" y="539"/>
                    <a:pt x="52" y="549"/>
                  </a:cubicBezTo>
                  <a:moveTo>
                    <a:pt x="137" y="339"/>
                  </a:moveTo>
                  <a:cubicBezTo>
                    <a:pt x="130" y="329"/>
                    <a:pt x="120" y="322"/>
                    <a:pt x="110" y="317"/>
                  </a:cubicBezTo>
                  <a:cubicBezTo>
                    <a:pt x="100" y="312"/>
                    <a:pt x="89" y="309"/>
                    <a:pt x="78" y="308"/>
                  </a:cubicBezTo>
                  <a:cubicBezTo>
                    <a:pt x="90" y="280"/>
                    <a:pt x="100" y="254"/>
                    <a:pt x="110" y="232"/>
                  </a:cubicBezTo>
                  <a:cubicBezTo>
                    <a:pt x="126" y="195"/>
                    <a:pt x="138" y="167"/>
                    <a:pt x="147" y="149"/>
                  </a:cubicBezTo>
                  <a:cubicBezTo>
                    <a:pt x="173" y="98"/>
                    <a:pt x="208" y="60"/>
                    <a:pt x="248" y="36"/>
                  </a:cubicBezTo>
                  <a:cubicBezTo>
                    <a:pt x="288" y="11"/>
                    <a:pt x="332" y="0"/>
                    <a:pt x="375" y="0"/>
                  </a:cubicBezTo>
                  <a:lnTo>
                    <a:pt x="375" y="0"/>
                  </a:lnTo>
                  <a:cubicBezTo>
                    <a:pt x="414" y="0"/>
                    <a:pt x="452" y="10"/>
                    <a:pt x="486" y="27"/>
                  </a:cubicBezTo>
                  <a:lnTo>
                    <a:pt x="471" y="57"/>
                  </a:lnTo>
                  <a:lnTo>
                    <a:pt x="486" y="27"/>
                  </a:lnTo>
                  <a:cubicBezTo>
                    <a:pt x="487" y="28"/>
                    <a:pt x="488" y="28"/>
                    <a:pt x="489" y="29"/>
                  </a:cubicBezTo>
                  <a:cubicBezTo>
                    <a:pt x="488" y="45"/>
                    <a:pt x="493" y="63"/>
                    <a:pt x="503" y="78"/>
                  </a:cubicBezTo>
                  <a:lnTo>
                    <a:pt x="503" y="78"/>
                  </a:lnTo>
                  <a:lnTo>
                    <a:pt x="505" y="80"/>
                  </a:lnTo>
                  <a:cubicBezTo>
                    <a:pt x="511" y="90"/>
                    <a:pt x="519" y="97"/>
                    <a:pt x="529" y="103"/>
                  </a:cubicBezTo>
                  <a:lnTo>
                    <a:pt x="530" y="103"/>
                  </a:lnTo>
                  <a:cubicBezTo>
                    <a:pt x="543" y="111"/>
                    <a:pt x="558" y="115"/>
                    <a:pt x="573" y="115"/>
                  </a:cubicBezTo>
                  <a:cubicBezTo>
                    <a:pt x="575" y="115"/>
                    <a:pt x="578" y="115"/>
                    <a:pt x="580" y="115"/>
                  </a:cubicBezTo>
                  <a:cubicBezTo>
                    <a:pt x="602" y="151"/>
                    <a:pt x="616" y="195"/>
                    <a:pt x="616" y="241"/>
                  </a:cubicBezTo>
                  <a:cubicBezTo>
                    <a:pt x="616" y="246"/>
                    <a:pt x="616" y="251"/>
                    <a:pt x="615" y="255"/>
                  </a:cubicBezTo>
                  <a:cubicBezTo>
                    <a:pt x="611" y="255"/>
                    <a:pt x="607" y="254"/>
                    <a:pt x="603" y="254"/>
                  </a:cubicBezTo>
                  <a:cubicBezTo>
                    <a:pt x="596" y="254"/>
                    <a:pt x="589" y="255"/>
                    <a:pt x="582" y="257"/>
                  </a:cubicBezTo>
                  <a:cubicBezTo>
                    <a:pt x="568" y="261"/>
                    <a:pt x="556" y="268"/>
                    <a:pt x="545" y="278"/>
                  </a:cubicBezTo>
                  <a:cubicBezTo>
                    <a:pt x="548" y="265"/>
                    <a:pt x="549" y="253"/>
                    <a:pt x="549" y="241"/>
                  </a:cubicBezTo>
                  <a:cubicBezTo>
                    <a:pt x="549" y="207"/>
                    <a:pt x="539" y="175"/>
                    <a:pt x="522" y="148"/>
                  </a:cubicBezTo>
                  <a:cubicBezTo>
                    <a:pt x="506" y="122"/>
                    <a:pt x="482" y="100"/>
                    <a:pt x="455" y="86"/>
                  </a:cubicBezTo>
                  <a:lnTo>
                    <a:pt x="455" y="86"/>
                  </a:lnTo>
                  <a:cubicBezTo>
                    <a:pt x="431" y="74"/>
                    <a:pt x="403" y="67"/>
                    <a:pt x="375" y="67"/>
                  </a:cubicBezTo>
                  <a:cubicBezTo>
                    <a:pt x="343" y="67"/>
                    <a:pt x="312" y="75"/>
                    <a:pt x="283" y="93"/>
                  </a:cubicBezTo>
                  <a:cubicBezTo>
                    <a:pt x="254" y="111"/>
                    <a:pt x="227" y="138"/>
                    <a:pt x="207" y="179"/>
                  </a:cubicBezTo>
                  <a:cubicBezTo>
                    <a:pt x="196" y="200"/>
                    <a:pt x="176" y="246"/>
                    <a:pt x="151" y="306"/>
                  </a:cubicBezTo>
                  <a:cubicBezTo>
                    <a:pt x="146" y="317"/>
                    <a:pt x="142" y="328"/>
                    <a:pt x="137" y="339"/>
                  </a:cubicBezTo>
                </a:path>
              </a:pathLst>
            </a:custGeom>
            <a:solidFill>
              <a:srgbClr val="3D3C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81">
              <a:extLst>
                <a:ext uri="{FF2B5EF4-FFF2-40B4-BE49-F238E27FC236}">
                  <a16:creationId xmlns:a16="http://schemas.microsoft.com/office/drawing/2014/main" id="{6912FCB1-C86C-E965-443A-B01296600D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243513" y="3422650"/>
              <a:ext cx="230188" cy="150813"/>
            </a:xfrm>
            <a:custGeom>
              <a:avLst/>
              <a:gdLst>
                <a:gd name="T0" fmla="*/ 394 w 511"/>
                <a:gd name="T1" fmla="*/ 330 h 330"/>
                <a:gd name="T2" fmla="*/ 356 w 511"/>
                <a:gd name="T3" fmla="*/ 329 h 330"/>
                <a:gd name="T4" fmla="*/ 325 w 511"/>
                <a:gd name="T5" fmla="*/ 325 h 330"/>
                <a:gd name="T6" fmla="*/ 323 w 511"/>
                <a:gd name="T7" fmla="*/ 320 h 330"/>
                <a:gd name="T8" fmla="*/ 426 w 511"/>
                <a:gd name="T9" fmla="*/ 143 h 330"/>
                <a:gd name="T10" fmla="*/ 441 w 511"/>
                <a:gd name="T11" fmla="*/ 141 h 330"/>
                <a:gd name="T12" fmla="*/ 467 w 511"/>
                <a:gd name="T13" fmla="*/ 138 h 330"/>
                <a:gd name="T14" fmla="*/ 511 w 511"/>
                <a:gd name="T15" fmla="*/ 128 h 330"/>
                <a:gd name="T16" fmla="*/ 454 w 511"/>
                <a:gd name="T17" fmla="*/ 227 h 330"/>
                <a:gd name="T18" fmla="*/ 448 w 511"/>
                <a:gd name="T19" fmla="*/ 228 h 330"/>
                <a:gd name="T20" fmla="*/ 426 w 511"/>
                <a:gd name="T21" fmla="*/ 232 h 330"/>
                <a:gd name="T22" fmla="*/ 407 w 511"/>
                <a:gd name="T23" fmla="*/ 309 h 330"/>
                <a:gd name="T24" fmla="*/ 403 w 511"/>
                <a:gd name="T25" fmla="*/ 316 h 330"/>
                <a:gd name="T26" fmla="*/ 394 w 511"/>
                <a:gd name="T27" fmla="*/ 330 h 330"/>
                <a:gd name="T28" fmla="*/ 35 w 511"/>
                <a:gd name="T29" fmla="*/ 214 h 330"/>
                <a:gd name="T30" fmla="*/ 28 w 511"/>
                <a:gd name="T31" fmla="*/ 208 h 330"/>
                <a:gd name="T32" fmla="*/ 0 w 511"/>
                <a:gd name="T33" fmla="*/ 187 h 330"/>
                <a:gd name="T34" fmla="*/ 75 w 511"/>
                <a:gd name="T35" fmla="*/ 0 h 330"/>
                <a:gd name="T36" fmla="*/ 100 w 511"/>
                <a:gd name="T37" fmla="*/ 26 h 330"/>
                <a:gd name="T38" fmla="*/ 127 w 511"/>
                <a:gd name="T39" fmla="*/ 49 h 330"/>
                <a:gd name="T40" fmla="*/ 73 w 511"/>
                <a:gd name="T41" fmla="*/ 184 h 330"/>
                <a:gd name="T42" fmla="*/ 35 w 511"/>
                <a:gd name="T43" fmla="*/ 21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1" h="330">
                  <a:moveTo>
                    <a:pt x="394" y="330"/>
                  </a:moveTo>
                  <a:cubicBezTo>
                    <a:pt x="381" y="330"/>
                    <a:pt x="369" y="330"/>
                    <a:pt x="356" y="329"/>
                  </a:cubicBezTo>
                  <a:cubicBezTo>
                    <a:pt x="346" y="329"/>
                    <a:pt x="335" y="327"/>
                    <a:pt x="325" y="325"/>
                  </a:cubicBezTo>
                  <a:cubicBezTo>
                    <a:pt x="324" y="323"/>
                    <a:pt x="324" y="321"/>
                    <a:pt x="323" y="320"/>
                  </a:cubicBezTo>
                  <a:cubicBezTo>
                    <a:pt x="358" y="260"/>
                    <a:pt x="393" y="199"/>
                    <a:pt x="426" y="143"/>
                  </a:cubicBezTo>
                  <a:cubicBezTo>
                    <a:pt x="431" y="142"/>
                    <a:pt x="436" y="142"/>
                    <a:pt x="441" y="141"/>
                  </a:cubicBezTo>
                  <a:cubicBezTo>
                    <a:pt x="450" y="140"/>
                    <a:pt x="458" y="139"/>
                    <a:pt x="467" y="138"/>
                  </a:cubicBezTo>
                  <a:cubicBezTo>
                    <a:pt x="482" y="135"/>
                    <a:pt x="497" y="132"/>
                    <a:pt x="511" y="128"/>
                  </a:cubicBezTo>
                  <a:cubicBezTo>
                    <a:pt x="493" y="160"/>
                    <a:pt x="473" y="193"/>
                    <a:pt x="454" y="227"/>
                  </a:cubicBezTo>
                  <a:cubicBezTo>
                    <a:pt x="452" y="228"/>
                    <a:pt x="450" y="228"/>
                    <a:pt x="448" y="228"/>
                  </a:cubicBezTo>
                  <a:cubicBezTo>
                    <a:pt x="440" y="229"/>
                    <a:pt x="433" y="230"/>
                    <a:pt x="426" y="232"/>
                  </a:cubicBezTo>
                  <a:cubicBezTo>
                    <a:pt x="418" y="258"/>
                    <a:pt x="414" y="284"/>
                    <a:pt x="407" y="309"/>
                  </a:cubicBezTo>
                  <a:cubicBezTo>
                    <a:pt x="405" y="311"/>
                    <a:pt x="404" y="314"/>
                    <a:pt x="403" y="316"/>
                  </a:cubicBezTo>
                  <a:cubicBezTo>
                    <a:pt x="400" y="321"/>
                    <a:pt x="397" y="325"/>
                    <a:pt x="394" y="330"/>
                  </a:cubicBezTo>
                  <a:close/>
                  <a:moveTo>
                    <a:pt x="35" y="214"/>
                  </a:moveTo>
                  <a:cubicBezTo>
                    <a:pt x="32" y="212"/>
                    <a:pt x="30" y="210"/>
                    <a:pt x="28" y="208"/>
                  </a:cubicBezTo>
                  <a:cubicBezTo>
                    <a:pt x="19" y="201"/>
                    <a:pt x="9" y="194"/>
                    <a:pt x="0" y="187"/>
                  </a:cubicBezTo>
                  <a:cubicBezTo>
                    <a:pt x="25" y="124"/>
                    <a:pt x="51" y="60"/>
                    <a:pt x="75" y="0"/>
                  </a:cubicBezTo>
                  <a:cubicBezTo>
                    <a:pt x="83" y="9"/>
                    <a:pt x="91" y="18"/>
                    <a:pt x="100" y="26"/>
                  </a:cubicBezTo>
                  <a:cubicBezTo>
                    <a:pt x="109" y="34"/>
                    <a:pt x="118" y="42"/>
                    <a:pt x="127" y="49"/>
                  </a:cubicBezTo>
                  <a:cubicBezTo>
                    <a:pt x="109" y="93"/>
                    <a:pt x="91" y="138"/>
                    <a:pt x="73" y="184"/>
                  </a:cubicBezTo>
                  <a:cubicBezTo>
                    <a:pt x="61" y="195"/>
                    <a:pt x="48" y="205"/>
                    <a:pt x="35" y="214"/>
                  </a:cubicBezTo>
                  <a:close/>
                </a:path>
              </a:pathLst>
            </a:custGeom>
            <a:solidFill>
              <a:srgbClr val="5D68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82">
              <a:extLst>
                <a:ext uri="{FF2B5EF4-FFF2-40B4-BE49-F238E27FC236}">
                  <a16:creationId xmlns:a16="http://schemas.microsoft.com/office/drawing/2014/main" id="{07F5B3D4-1581-DF4D-FDEB-A69E58C0F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238875" y="3246438"/>
              <a:ext cx="619125" cy="625475"/>
            </a:xfrm>
            <a:prstGeom prst="ellipse">
              <a:avLst/>
            </a:prstGeom>
            <a:solidFill>
              <a:srgbClr val="757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83">
              <a:extLst>
                <a:ext uri="{FF2B5EF4-FFF2-40B4-BE49-F238E27FC236}">
                  <a16:creationId xmlns:a16="http://schemas.microsoft.com/office/drawing/2014/main" id="{62BE2571-2808-4C4E-CBD5-D82B6803A2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434138" y="3051175"/>
              <a:ext cx="1008063" cy="1016000"/>
            </a:xfrm>
            <a:custGeom>
              <a:avLst/>
              <a:gdLst>
                <a:gd name="T0" fmla="*/ 1786 w 2229"/>
                <a:gd name="T1" fmla="*/ 1405 h 2225"/>
                <a:gd name="T2" fmla="*/ 1513 w 2229"/>
                <a:gd name="T3" fmla="*/ 1670 h 2225"/>
                <a:gd name="T4" fmla="*/ 1044 w 2229"/>
                <a:gd name="T5" fmla="*/ 1798 h 2225"/>
                <a:gd name="T6" fmla="*/ 1112 w 2229"/>
                <a:gd name="T7" fmla="*/ 1921 h 2225"/>
                <a:gd name="T8" fmla="*/ 827 w 2229"/>
                <a:gd name="T9" fmla="*/ 1735 h 2225"/>
                <a:gd name="T10" fmla="*/ 549 w 2229"/>
                <a:gd name="T11" fmla="*/ 1435 h 2225"/>
                <a:gd name="T12" fmla="*/ 432 w 2229"/>
                <a:gd name="T13" fmla="*/ 1047 h 2225"/>
                <a:gd name="T14" fmla="*/ 409 w 2229"/>
                <a:gd name="T15" fmla="*/ 704 h 2225"/>
                <a:gd name="T16" fmla="*/ 409 w 2229"/>
                <a:gd name="T17" fmla="*/ 704 h 2225"/>
                <a:gd name="T18" fmla="*/ 747 w 2229"/>
                <a:gd name="T19" fmla="*/ 558 h 2225"/>
                <a:gd name="T20" fmla="*/ 697 w 2229"/>
                <a:gd name="T21" fmla="*/ 540 h 2225"/>
                <a:gd name="T22" fmla="*/ 677 w 2229"/>
                <a:gd name="T23" fmla="*/ 517 h 2225"/>
                <a:gd name="T24" fmla="*/ 678 w 2229"/>
                <a:gd name="T25" fmla="*/ 435 h 2225"/>
                <a:gd name="T26" fmla="*/ 706 w 2229"/>
                <a:gd name="T27" fmla="*/ 407 h 2225"/>
                <a:gd name="T28" fmla="*/ 1508 w 2229"/>
                <a:gd name="T29" fmla="*/ 552 h 2225"/>
                <a:gd name="T30" fmla="*/ 1762 w 2229"/>
                <a:gd name="T31" fmla="*/ 1110 h 2225"/>
                <a:gd name="T32" fmla="*/ 1814 w 2229"/>
                <a:gd name="T33" fmla="*/ 1185 h 2225"/>
                <a:gd name="T34" fmla="*/ 1675 w 2229"/>
                <a:gd name="T35" fmla="*/ 785 h 2225"/>
                <a:gd name="T36" fmla="*/ 1655 w 2229"/>
                <a:gd name="T37" fmla="*/ 1390 h 2225"/>
                <a:gd name="T38" fmla="*/ 1564 w 2229"/>
                <a:gd name="T39" fmla="*/ 1521 h 2225"/>
                <a:gd name="T40" fmla="*/ 1474 w 2229"/>
                <a:gd name="T41" fmla="*/ 1602 h 2225"/>
                <a:gd name="T42" fmla="*/ 1352 w 2229"/>
                <a:gd name="T43" fmla="*/ 1673 h 2225"/>
                <a:gd name="T44" fmla="*/ 1290 w 2229"/>
                <a:gd name="T45" fmla="*/ 1695 h 2225"/>
                <a:gd name="T46" fmla="*/ 1217 w 2229"/>
                <a:gd name="T47" fmla="*/ 1713 h 2225"/>
                <a:gd name="T48" fmla="*/ 1093 w 2229"/>
                <a:gd name="T49" fmla="*/ 1721 h 2225"/>
                <a:gd name="T50" fmla="*/ 945 w 2229"/>
                <a:gd name="T51" fmla="*/ 1699 h 2225"/>
                <a:gd name="T52" fmla="*/ 504 w 2229"/>
                <a:gd name="T53" fmla="*/ 1144 h 2225"/>
                <a:gd name="T54" fmla="*/ 516 w 2229"/>
                <a:gd name="T55" fmla="*/ 990 h 2225"/>
                <a:gd name="T56" fmla="*/ 615 w 2229"/>
                <a:gd name="T57" fmla="*/ 760 h 2225"/>
                <a:gd name="T58" fmla="*/ 686 w 2229"/>
                <a:gd name="T59" fmla="*/ 678 h 2225"/>
                <a:gd name="T60" fmla="*/ 781 w 2229"/>
                <a:gd name="T61" fmla="*/ 601 h 2225"/>
                <a:gd name="T62" fmla="*/ 866 w 2229"/>
                <a:gd name="T63" fmla="*/ 555 h 2225"/>
                <a:gd name="T64" fmla="*/ 1000 w 2229"/>
                <a:gd name="T65" fmla="*/ 514 h 2225"/>
                <a:gd name="T66" fmla="*/ 1367 w 2229"/>
                <a:gd name="T67" fmla="*/ 559 h 2225"/>
                <a:gd name="T68" fmla="*/ 1721 w 2229"/>
                <a:gd name="T69" fmla="*/ 1090 h 2225"/>
                <a:gd name="T70" fmla="*/ 1697 w 2229"/>
                <a:gd name="T71" fmla="*/ 1286 h 2225"/>
                <a:gd name="T72" fmla="*/ 2028 w 2229"/>
                <a:gd name="T73" fmla="*/ 1062 h 2225"/>
                <a:gd name="T74" fmla="*/ 2208 w 2229"/>
                <a:gd name="T75" fmla="*/ 885 h 2225"/>
                <a:gd name="T76" fmla="*/ 1992 w 2229"/>
                <a:gd name="T77" fmla="*/ 420 h 2225"/>
                <a:gd name="T78" fmla="*/ 1807 w 2229"/>
                <a:gd name="T79" fmla="*/ 234 h 2225"/>
                <a:gd name="T80" fmla="*/ 1416 w 2229"/>
                <a:gd name="T81" fmla="*/ 247 h 2225"/>
                <a:gd name="T82" fmla="*/ 1312 w 2229"/>
                <a:gd name="T83" fmla="*/ 10 h 2225"/>
                <a:gd name="T84" fmla="*/ 1186 w 2229"/>
                <a:gd name="T85" fmla="*/ 138 h 2225"/>
                <a:gd name="T86" fmla="*/ 969 w 2229"/>
                <a:gd name="T87" fmla="*/ 2 h 2225"/>
                <a:gd name="T88" fmla="*/ 868 w 2229"/>
                <a:gd name="T89" fmla="*/ 19 h 2225"/>
                <a:gd name="T90" fmla="*/ 759 w 2229"/>
                <a:gd name="T91" fmla="*/ 268 h 2225"/>
                <a:gd name="T92" fmla="*/ 558 w 2229"/>
                <a:gd name="T93" fmla="*/ 139 h 2225"/>
                <a:gd name="T94" fmla="*/ 135 w 2229"/>
                <a:gd name="T95" fmla="*/ 564 h 2225"/>
                <a:gd name="T96" fmla="*/ 196 w 2229"/>
                <a:gd name="T97" fmla="*/ 1163 h 2225"/>
                <a:gd name="T98" fmla="*/ 234 w 2229"/>
                <a:gd name="T99" fmla="*/ 1808 h 2225"/>
                <a:gd name="T100" fmla="*/ 808 w 2229"/>
                <a:gd name="T101" fmla="*/ 1978 h 2225"/>
                <a:gd name="T102" fmla="*/ 1416 w 2229"/>
                <a:gd name="T103" fmla="*/ 2191 h 2225"/>
                <a:gd name="T104" fmla="*/ 1801 w 2229"/>
                <a:gd name="T105" fmla="*/ 1727 h 2225"/>
                <a:gd name="T106" fmla="*/ 2190 w 2229"/>
                <a:gd name="T107" fmla="*/ 1416 h 2225"/>
                <a:gd name="T108" fmla="*/ 2028 w 2229"/>
                <a:gd name="T109" fmla="*/ 1163 h 2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9" h="2225">
                  <a:moveTo>
                    <a:pt x="1815" y="1516"/>
                  </a:moveTo>
                  <a:cubicBezTo>
                    <a:pt x="1793" y="1554"/>
                    <a:pt x="1743" y="1567"/>
                    <a:pt x="1705" y="1545"/>
                  </a:cubicBezTo>
                  <a:cubicBezTo>
                    <a:pt x="1690" y="1537"/>
                    <a:pt x="1679" y="1524"/>
                    <a:pt x="1672" y="1510"/>
                  </a:cubicBezTo>
                  <a:cubicBezTo>
                    <a:pt x="1661" y="1487"/>
                    <a:pt x="1662" y="1459"/>
                    <a:pt x="1675" y="1435"/>
                  </a:cubicBezTo>
                  <a:cubicBezTo>
                    <a:pt x="1689" y="1411"/>
                    <a:pt x="1713" y="1397"/>
                    <a:pt x="1739" y="1395"/>
                  </a:cubicBezTo>
                  <a:cubicBezTo>
                    <a:pt x="1754" y="1394"/>
                    <a:pt x="1771" y="1397"/>
                    <a:pt x="1786" y="1405"/>
                  </a:cubicBezTo>
                  <a:cubicBezTo>
                    <a:pt x="1824" y="1428"/>
                    <a:pt x="1837" y="1477"/>
                    <a:pt x="1815" y="1516"/>
                  </a:cubicBezTo>
                  <a:moveTo>
                    <a:pt x="1518" y="1813"/>
                  </a:moveTo>
                  <a:cubicBezTo>
                    <a:pt x="1479" y="1835"/>
                    <a:pt x="1430" y="1822"/>
                    <a:pt x="1408" y="1783"/>
                  </a:cubicBezTo>
                  <a:cubicBezTo>
                    <a:pt x="1399" y="1768"/>
                    <a:pt x="1396" y="1752"/>
                    <a:pt x="1397" y="1737"/>
                  </a:cubicBezTo>
                  <a:cubicBezTo>
                    <a:pt x="1399" y="1711"/>
                    <a:pt x="1413" y="1687"/>
                    <a:pt x="1437" y="1673"/>
                  </a:cubicBezTo>
                  <a:cubicBezTo>
                    <a:pt x="1461" y="1659"/>
                    <a:pt x="1489" y="1659"/>
                    <a:pt x="1513" y="1670"/>
                  </a:cubicBezTo>
                  <a:lnTo>
                    <a:pt x="1513" y="1670"/>
                  </a:lnTo>
                  <a:cubicBezTo>
                    <a:pt x="1527" y="1677"/>
                    <a:pt x="1539" y="1688"/>
                    <a:pt x="1548" y="1702"/>
                  </a:cubicBezTo>
                  <a:cubicBezTo>
                    <a:pt x="1570" y="1741"/>
                    <a:pt x="1557" y="1790"/>
                    <a:pt x="1518" y="1813"/>
                  </a:cubicBezTo>
                  <a:moveTo>
                    <a:pt x="1112" y="1921"/>
                  </a:moveTo>
                  <a:cubicBezTo>
                    <a:pt x="1068" y="1921"/>
                    <a:pt x="1032" y="1885"/>
                    <a:pt x="1032" y="1841"/>
                  </a:cubicBezTo>
                  <a:cubicBezTo>
                    <a:pt x="1032" y="1825"/>
                    <a:pt x="1036" y="1810"/>
                    <a:pt x="1044" y="1798"/>
                  </a:cubicBezTo>
                  <a:lnTo>
                    <a:pt x="1046" y="1794"/>
                  </a:lnTo>
                  <a:cubicBezTo>
                    <a:pt x="1061" y="1774"/>
                    <a:pt x="1085" y="1760"/>
                    <a:pt x="1112" y="1760"/>
                  </a:cubicBezTo>
                  <a:cubicBezTo>
                    <a:pt x="1140" y="1760"/>
                    <a:pt x="1164" y="1774"/>
                    <a:pt x="1178" y="1795"/>
                  </a:cubicBezTo>
                  <a:cubicBezTo>
                    <a:pt x="1188" y="1808"/>
                    <a:pt x="1193" y="1824"/>
                    <a:pt x="1193" y="1841"/>
                  </a:cubicBezTo>
                  <a:cubicBezTo>
                    <a:pt x="1193" y="1869"/>
                    <a:pt x="1178" y="1895"/>
                    <a:pt x="1155" y="1909"/>
                  </a:cubicBezTo>
                  <a:cubicBezTo>
                    <a:pt x="1143" y="1917"/>
                    <a:pt x="1128" y="1921"/>
                    <a:pt x="1112" y="1921"/>
                  </a:cubicBezTo>
                  <a:moveTo>
                    <a:pt x="817" y="1783"/>
                  </a:moveTo>
                  <a:cubicBezTo>
                    <a:pt x="794" y="1822"/>
                    <a:pt x="745" y="1835"/>
                    <a:pt x="706" y="1813"/>
                  </a:cubicBezTo>
                  <a:cubicBezTo>
                    <a:pt x="668" y="1790"/>
                    <a:pt x="655" y="1741"/>
                    <a:pt x="677" y="1702"/>
                  </a:cubicBezTo>
                  <a:cubicBezTo>
                    <a:pt x="686" y="1687"/>
                    <a:pt x="699" y="1676"/>
                    <a:pt x="714" y="1669"/>
                  </a:cubicBezTo>
                  <a:cubicBezTo>
                    <a:pt x="737" y="1659"/>
                    <a:pt x="764" y="1660"/>
                    <a:pt x="787" y="1673"/>
                  </a:cubicBezTo>
                  <a:cubicBezTo>
                    <a:pt x="810" y="1686"/>
                    <a:pt x="825" y="1710"/>
                    <a:pt x="827" y="1735"/>
                  </a:cubicBezTo>
                  <a:cubicBezTo>
                    <a:pt x="829" y="1751"/>
                    <a:pt x="825" y="1768"/>
                    <a:pt x="817" y="1783"/>
                  </a:cubicBezTo>
                  <a:close/>
                  <a:moveTo>
                    <a:pt x="520" y="1545"/>
                  </a:moveTo>
                  <a:cubicBezTo>
                    <a:pt x="481" y="1567"/>
                    <a:pt x="432" y="1554"/>
                    <a:pt x="409" y="1516"/>
                  </a:cubicBezTo>
                  <a:cubicBezTo>
                    <a:pt x="387" y="1477"/>
                    <a:pt x="400" y="1428"/>
                    <a:pt x="439" y="1405"/>
                  </a:cubicBezTo>
                  <a:cubicBezTo>
                    <a:pt x="455" y="1396"/>
                    <a:pt x="473" y="1393"/>
                    <a:pt x="490" y="1395"/>
                  </a:cubicBezTo>
                  <a:cubicBezTo>
                    <a:pt x="514" y="1399"/>
                    <a:pt x="536" y="1412"/>
                    <a:pt x="549" y="1435"/>
                  </a:cubicBezTo>
                  <a:cubicBezTo>
                    <a:pt x="562" y="1458"/>
                    <a:pt x="563" y="1484"/>
                    <a:pt x="554" y="1506"/>
                  </a:cubicBezTo>
                  <a:cubicBezTo>
                    <a:pt x="547" y="1522"/>
                    <a:pt x="535" y="1536"/>
                    <a:pt x="520" y="1545"/>
                  </a:cubicBezTo>
                  <a:moveTo>
                    <a:pt x="301" y="1110"/>
                  </a:moveTo>
                  <a:cubicBezTo>
                    <a:pt x="301" y="1094"/>
                    <a:pt x="305" y="1079"/>
                    <a:pt x="313" y="1067"/>
                  </a:cubicBezTo>
                  <a:cubicBezTo>
                    <a:pt x="327" y="1044"/>
                    <a:pt x="353" y="1029"/>
                    <a:pt x="381" y="1029"/>
                  </a:cubicBezTo>
                  <a:cubicBezTo>
                    <a:pt x="401" y="1029"/>
                    <a:pt x="419" y="1036"/>
                    <a:pt x="432" y="1047"/>
                  </a:cubicBezTo>
                  <a:cubicBezTo>
                    <a:pt x="451" y="1062"/>
                    <a:pt x="462" y="1085"/>
                    <a:pt x="462" y="1110"/>
                  </a:cubicBezTo>
                  <a:cubicBezTo>
                    <a:pt x="462" y="1135"/>
                    <a:pt x="450" y="1158"/>
                    <a:pt x="432" y="1173"/>
                  </a:cubicBezTo>
                  <a:cubicBezTo>
                    <a:pt x="430" y="1175"/>
                    <a:pt x="427" y="1176"/>
                    <a:pt x="424" y="1178"/>
                  </a:cubicBezTo>
                  <a:cubicBezTo>
                    <a:pt x="412" y="1186"/>
                    <a:pt x="397" y="1191"/>
                    <a:pt x="381" y="1191"/>
                  </a:cubicBezTo>
                  <a:cubicBezTo>
                    <a:pt x="337" y="1191"/>
                    <a:pt x="301" y="1154"/>
                    <a:pt x="301" y="1110"/>
                  </a:cubicBezTo>
                  <a:moveTo>
                    <a:pt x="409" y="704"/>
                  </a:moveTo>
                  <a:cubicBezTo>
                    <a:pt x="432" y="665"/>
                    <a:pt x="481" y="652"/>
                    <a:pt x="520" y="675"/>
                  </a:cubicBezTo>
                  <a:cubicBezTo>
                    <a:pt x="537" y="684"/>
                    <a:pt x="549" y="700"/>
                    <a:pt x="555" y="717"/>
                  </a:cubicBezTo>
                  <a:cubicBezTo>
                    <a:pt x="563" y="739"/>
                    <a:pt x="561" y="763"/>
                    <a:pt x="549" y="785"/>
                  </a:cubicBezTo>
                  <a:cubicBezTo>
                    <a:pt x="537" y="806"/>
                    <a:pt x="516" y="820"/>
                    <a:pt x="493" y="824"/>
                  </a:cubicBezTo>
                  <a:cubicBezTo>
                    <a:pt x="475" y="827"/>
                    <a:pt x="456" y="824"/>
                    <a:pt x="439" y="814"/>
                  </a:cubicBezTo>
                  <a:cubicBezTo>
                    <a:pt x="400" y="792"/>
                    <a:pt x="387" y="743"/>
                    <a:pt x="409" y="704"/>
                  </a:cubicBezTo>
                  <a:moveTo>
                    <a:pt x="770" y="400"/>
                  </a:moveTo>
                  <a:cubicBezTo>
                    <a:pt x="789" y="405"/>
                    <a:pt x="806" y="418"/>
                    <a:pt x="817" y="437"/>
                  </a:cubicBezTo>
                  <a:cubicBezTo>
                    <a:pt x="826" y="454"/>
                    <a:pt x="829" y="473"/>
                    <a:pt x="826" y="491"/>
                  </a:cubicBezTo>
                  <a:lnTo>
                    <a:pt x="826" y="491"/>
                  </a:lnTo>
                  <a:cubicBezTo>
                    <a:pt x="822" y="514"/>
                    <a:pt x="809" y="534"/>
                    <a:pt x="787" y="547"/>
                  </a:cubicBezTo>
                  <a:cubicBezTo>
                    <a:pt x="774" y="554"/>
                    <a:pt x="761" y="558"/>
                    <a:pt x="747" y="558"/>
                  </a:cubicBezTo>
                  <a:cubicBezTo>
                    <a:pt x="744" y="558"/>
                    <a:pt x="741" y="557"/>
                    <a:pt x="739" y="557"/>
                  </a:cubicBezTo>
                  <a:lnTo>
                    <a:pt x="737" y="557"/>
                  </a:lnTo>
                  <a:cubicBezTo>
                    <a:pt x="734" y="557"/>
                    <a:pt x="732" y="556"/>
                    <a:pt x="730" y="556"/>
                  </a:cubicBezTo>
                  <a:cubicBezTo>
                    <a:pt x="726" y="555"/>
                    <a:pt x="723" y="554"/>
                    <a:pt x="719" y="553"/>
                  </a:cubicBezTo>
                  <a:cubicBezTo>
                    <a:pt x="714" y="551"/>
                    <a:pt x="709" y="548"/>
                    <a:pt x="704" y="545"/>
                  </a:cubicBezTo>
                  <a:cubicBezTo>
                    <a:pt x="702" y="544"/>
                    <a:pt x="699" y="542"/>
                    <a:pt x="697" y="540"/>
                  </a:cubicBezTo>
                  <a:cubicBezTo>
                    <a:pt x="695" y="538"/>
                    <a:pt x="692" y="536"/>
                    <a:pt x="690" y="534"/>
                  </a:cubicBezTo>
                  <a:lnTo>
                    <a:pt x="690" y="534"/>
                  </a:lnTo>
                  <a:cubicBezTo>
                    <a:pt x="688" y="532"/>
                    <a:pt x="686" y="530"/>
                    <a:pt x="684" y="527"/>
                  </a:cubicBezTo>
                  <a:lnTo>
                    <a:pt x="684" y="527"/>
                  </a:lnTo>
                  <a:lnTo>
                    <a:pt x="682" y="525"/>
                  </a:lnTo>
                  <a:cubicBezTo>
                    <a:pt x="680" y="522"/>
                    <a:pt x="678" y="520"/>
                    <a:pt x="677" y="517"/>
                  </a:cubicBezTo>
                  <a:cubicBezTo>
                    <a:pt x="670" y="505"/>
                    <a:pt x="666" y="491"/>
                    <a:pt x="666" y="477"/>
                  </a:cubicBezTo>
                  <a:cubicBezTo>
                    <a:pt x="666" y="474"/>
                    <a:pt x="666" y="471"/>
                    <a:pt x="667" y="468"/>
                  </a:cubicBezTo>
                  <a:cubicBezTo>
                    <a:pt x="667" y="466"/>
                    <a:pt x="667" y="463"/>
                    <a:pt x="668" y="460"/>
                  </a:cubicBezTo>
                  <a:cubicBezTo>
                    <a:pt x="669" y="454"/>
                    <a:pt x="671" y="449"/>
                    <a:pt x="673" y="444"/>
                  </a:cubicBezTo>
                  <a:cubicBezTo>
                    <a:pt x="674" y="441"/>
                    <a:pt x="675" y="439"/>
                    <a:pt x="677" y="437"/>
                  </a:cubicBezTo>
                  <a:lnTo>
                    <a:pt x="678" y="435"/>
                  </a:lnTo>
                  <a:cubicBezTo>
                    <a:pt x="679" y="433"/>
                    <a:pt x="680" y="431"/>
                    <a:pt x="682" y="429"/>
                  </a:cubicBezTo>
                  <a:lnTo>
                    <a:pt x="682" y="428"/>
                  </a:lnTo>
                  <a:cubicBezTo>
                    <a:pt x="684" y="426"/>
                    <a:pt x="685" y="425"/>
                    <a:pt x="687" y="423"/>
                  </a:cubicBezTo>
                  <a:cubicBezTo>
                    <a:pt x="689" y="420"/>
                    <a:pt x="691" y="418"/>
                    <a:pt x="694" y="416"/>
                  </a:cubicBezTo>
                  <a:lnTo>
                    <a:pt x="694" y="416"/>
                  </a:lnTo>
                  <a:cubicBezTo>
                    <a:pt x="698" y="412"/>
                    <a:pt x="702" y="410"/>
                    <a:pt x="706" y="407"/>
                  </a:cubicBezTo>
                  <a:cubicBezTo>
                    <a:pt x="726" y="396"/>
                    <a:pt x="749" y="393"/>
                    <a:pt x="770" y="400"/>
                  </a:cubicBezTo>
                  <a:moveTo>
                    <a:pt x="1518" y="407"/>
                  </a:moveTo>
                  <a:cubicBezTo>
                    <a:pt x="1523" y="410"/>
                    <a:pt x="1527" y="413"/>
                    <a:pt x="1531" y="417"/>
                  </a:cubicBezTo>
                  <a:cubicBezTo>
                    <a:pt x="1559" y="442"/>
                    <a:pt x="1567" y="484"/>
                    <a:pt x="1548" y="517"/>
                  </a:cubicBezTo>
                  <a:cubicBezTo>
                    <a:pt x="1541" y="529"/>
                    <a:pt x="1531" y="539"/>
                    <a:pt x="1520" y="546"/>
                  </a:cubicBezTo>
                  <a:cubicBezTo>
                    <a:pt x="1516" y="548"/>
                    <a:pt x="1512" y="550"/>
                    <a:pt x="1508" y="552"/>
                  </a:cubicBezTo>
                  <a:cubicBezTo>
                    <a:pt x="1485" y="561"/>
                    <a:pt x="1460" y="560"/>
                    <a:pt x="1437" y="547"/>
                  </a:cubicBezTo>
                  <a:cubicBezTo>
                    <a:pt x="1415" y="534"/>
                    <a:pt x="1401" y="512"/>
                    <a:pt x="1398" y="489"/>
                  </a:cubicBezTo>
                  <a:cubicBezTo>
                    <a:pt x="1395" y="472"/>
                    <a:pt x="1398" y="453"/>
                    <a:pt x="1408" y="437"/>
                  </a:cubicBezTo>
                  <a:cubicBezTo>
                    <a:pt x="1430" y="398"/>
                    <a:pt x="1479" y="385"/>
                    <a:pt x="1518" y="407"/>
                  </a:cubicBezTo>
                  <a:moveTo>
                    <a:pt x="1796" y="1176"/>
                  </a:moveTo>
                  <a:cubicBezTo>
                    <a:pt x="1776" y="1161"/>
                    <a:pt x="1762" y="1137"/>
                    <a:pt x="1762" y="1110"/>
                  </a:cubicBezTo>
                  <a:cubicBezTo>
                    <a:pt x="1762" y="1083"/>
                    <a:pt x="1776" y="1059"/>
                    <a:pt x="1796" y="1044"/>
                  </a:cubicBezTo>
                  <a:cubicBezTo>
                    <a:pt x="1809" y="1035"/>
                    <a:pt x="1826" y="1029"/>
                    <a:pt x="1843" y="1029"/>
                  </a:cubicBezTo>
                  <a:cubicBezTo>
                    <a:pt x="1888" y="1029"/>
                    <a:pt x="1924" y="1065"/>
                    <a:pt x="1924" y="1110"/>
                  </a:cubicBezTo>
                  <a:cubicBezTo>
                    <a:pt x="1924" y="1127"/>
                    <a:pt x="1919" y="1142"/>
                    <a:pt x="1910" y="1155"/>
                  </a:cubicBezTo>
                  <a:cubicBezTo>
                    <a:pt x="1895" y="1177"/>
                    <a:pt x="1871" y="1191"/>
                    <a:pt x="1843" y="1191"/>
                  </a:cubicBezTo>
                  <a:cubicBezTo>
                    <a:pt x="1833" y="1191"/>
                    <a:pt x="1823" y="1189"/>
                    <a:pt x="1814" y="1185"/>
                  </a:cubicBezTo>
                  <a:cubicBezTo>
                    <a:pt x="1807" y="1183"/>
                    <a:pt x="1802" y="1179"/>
                    <a:pt x="1796" y="1176"/>
                  </a:cubicBezTo>
                  <a:close/>
                  <a:moveTo>
                    <a:pt x="1815" y="704"/>
                  </a:moveTo>
                  <a:cubicBezTo>
                    <a:pt x="1837" y="743"/>
                    <a:pt x="1824" y="792"/>
                    <a:pt x="1786" y="814"/>
                  </a:cubicBezTo>
                  <a:cubicBezTo>
                    <a:pt x="1770" y="823"/>
                    <a:pt x="1753" y="826"/>
                    <a:pt x="1736" y="825"/>
                  </a:cubicBezTo>
                  <a:cubicBezTo>
                    <a:pt x="1728" y="824"/>
                    <a:pt x="1720" y="822"/>
                    <a:pt x="1713" y="818"/>
                  </a:cubicBezTo>
                  <a:cubicBezTo>
                    <a:pt x="1698" y="812"/>
                    <a:pt x="1684" y="800"/>
                    <a:pt x="1675" y="785"/>
                  </a:cubicBezTo>
                  <a:cubicBezTo>
                    <a:pt x="1662" y="762"/>
                    <a:pt x="1661" y="736"/>
                    <a:pt x="1671" y="713"/>
                  </a:cubicBezTo>
                  <a:cubicBezTo>
                    <a:pt x="1677" y="697"/>
                    <a:pt x="1689" y="684"/>
                    <a:pt x="1705" y="675"/>
                  </a:cubicBezTo>
                  <a:cubicBezTo>
                    <a:pt x="1708" y="673"/>
                    <a:pt x="1711" y="671"/>
                    <a:pt x="1714" y="670"/>
                  </a:cubicBezTo>
                  <a:cubicBezTo>
                    <a:pt x="1751" y="654"/>
                    <a:pt x="1794" y="668"/>
                    <a:pt x="1815" y="704"/>
                  </a:cubicBezTo>
                  <a:moveTo>
                    <a:pt x="1655" y="1389"/>
                  </a:moveTo>
                  <a:lnTo>
                    <a:pt x="1655" y="1390"/>
                  </a:lnTo>
                  <a:cubicBezTo>
                    <a:pt x="1647" y="1405"/>
                    <a:pt x="1638" y="1420"/>
                    <a:pt x="1630" y="1434"/>
                  </a:cubicBezTo>
                  <a:lnTo>
                    <a:pt x="1629" y="1436"/>
                  </a:lnTo>
                  <a:cubicBezTo>
                    <a:pt x="1624" y="1443"/>
                    <a:pt x="1619" y="1451"/>
                    <a:pt x="1614" y="1458"/>
                  </a:cubicBezTo>
                  <a:cubicBezTo>
                    <a:pt x="1608" y="1466"/>
                    <a:pt x="1603" y="1474"/>
                    <a:pt x="1597" y="1482"/>
                  </a:cubicBezTo>
                  <a:cubicBezTo>
                    <a:pt x="1592" y="1488"/>
                    <a:pt x="1587" y="1494"/>
                    <a:pt x="1582" y="1501"/>
                  </a:cubicBezTo>
                  <a:cubicBezTo>
                    <a:pt x="1576" y="1507"/>
                    <a:pt x="1570" y="1514"/>
                    <a:pt x="1564" y="1521"/>
                  </a:cubicBezTo>
                  <a:cubicBezTo>
                    <a:pt x="1560" y="1526"/>
                    <a:pt x="1555" y="1531"/>
                    <a:pt x="1550" y="1536"/>
                  </a:cubicBezTo>
                  <a:cubicBezTo>
                    <a:pt x="1544" y="1543"/>
                    <a:pt x="1537" y="1549"/>
                    <a:pt x="1530" y="1556"/>
                  </a:cubicBezTo>
                  <a:cubicBezTo>
                    <a:pt x="1528" y="1557"/>
                    <a:pt x="1527" y="1559"/>
                    <a:pt x="1525" y="1560"/>
                  </a:cubicBezTo>
                  <a:cubicBezTo>
                    <a:pt x="1518" y="1567"/>
                    <a:pt x="1510" y="1574"/>
                    <a:pt x="1502" y="1581"/>
                  </a:cubicBezTo>
                  <a:cubicBezTo>
                    <a:pt x="1497" y="1585"/>
                    <a:pt x="1492" y="1589"/>
                    <a:pt x="1487" y="1593"/>
                  </a:cubicBezTo>
                  <a:cubicBezTo>
                    <a:pt x="1483" y="1596"/>
                    <a:pt x="1478" y="1599"/>
                    <a:pt x="1474" y="1602"/>
                  </a:cubicBezTo>
                  <a:cubicBezTo>
                    <a:pt x="1471" y="1605"/>
                    <a:pt x="1467" y="1607"/>
                    <a:pt x="1464" y="1610"/>
                  </a:cubicBezTo>
                  <a:cubicBezTo>
                    <a:pt x="1452" y="1619"/>
                    <a:pt x="1439" y="1627"/>
                    <a:pt x="1426" y="1635"/>
                  </a:cubicBezTo>
                  <a:cubicBezTo>
                    <a:pt x="1423" y="1637"/>
                    <a:pt x="1419" y="1639"/>
                    <a:pt x="1415" y="1641"/>
                  </a:cubicBezTo>
                  <a:cubicBezTo>
                    <a:pt x="1403" y="1648"/>
                    <a:pt x="1391" y="1654"/>
                    <a:pt x="1379" y="1660"/>
                  </a:cubicBezTo>
                  <a:cubicBezTo>
                    <a:pt x="1376" y="1662"/>
                    <a:pt x="1373" y="1663"/>
                    <a:pt x="1370" y="1665"/>
                  </a:cubicBezTo>
                  <a:cubicBezTo>
                    <a:pt x="1364" y="1667"/>
                    <a:pt x="1358" y="1670"/>
                    <a:pt x="1352" y="1673"/>
                  </a:cubicBezTo>
                  <a:cubicBezTo>
                    <a:pt x="1349" y="1674"/>
                    <a:pt x="1346" y="1675"/>
                    <a:pt x="1343" y="1676"/>
                  </a:cubicBezTo>
                  <a:lnTo>
                    <a:pt x="1343" y="1677"/>
                  </a:lnTo>
                  <a:cubicBezTo>
                    <a:pt x="1336" y="1679"/>
                    <a:pt x="1330" y="1682"/>
                    <a:pt x="1323" y="1684"/>
                  </a:cubicBezTo>
                  <a:cubicBezTo>
                    <a:pt x="1316" y="1687"/>
                    <a:pt x="1309" y="1689"/>
                    <a:pt x="1303" y="1691"/>
                  </a:cubicBezTo>
                  <a:lnTo>
                    <a:pt x="1302" y="1692"/>
                  </a:lnTo>
                  <a:cubicBezTo>
                    <a:pt x="1298" y="1693"/>
                    <a:pt x="1294" y="1694"/>
                    <a:pt x="1290" y="1695"/>
                  </a:cubicBezTo>
                  <a:cubicBezTo>
                    <a:pt x="1286" y="1697"/>
                    <a:pt x="1283" y="1698"/>
                    <a:pt x="1279" y="1698"/>
                  </a:cubicBezTo>
                  <a:cubicBezTo>
                    <a:pt x="1276" y="1700"/>
                    <a:pt x="1272" y="1701"/>
                    <a:pt x="1268" y="1702"/>
                  </a:cubicBezTo>
                  <a:cubicBezTo>
                    <a:pt x="1262" y="1703"/>
                    <a:pt x="1256" y="1705"/>
                    <a:pt x="1249" y="1706"/>
                  </a:cubicBezTo>
                  <a:cubicBezTo>
                    <a:pt x="1246" y="1707"/>
                    <a:pt x="1242" y="1708"/>
                    <a:pt x="1239" y="1708"/>
                  </a:cubicBezTo>
                  <a:lnTo>
                    <a:pt x="1237" y="1709"/>
                  </a:lnTo>
                  <a:cubicBezTo>
                    <a:pt x="1230" y="1710"/>
                    <a:pt x="1224" y="1712"/>
                    <a:pt x="1217" y="1713"/>
                  </a:cubicBezTo>
                  <a:cubicBezTo>
                    <a:pt x="1208" y="1714"/>
                    <a:pt x="1199" y="1716"/>
                    <a:pt x="1189" y="1717"/>
                  </a:cubicBezTo>
                  <a:cubicBezTo>
                    <a:pt x="1181" y="1718"/>
                    <a:pt x="1172" y="1719"/>
                    <a:pt x="1163" y="1720"/>
                  </a:cubicBezTo>
                  <a:cubicBezTo>
                    <a:pt x="1161" y="1720"/>
                    <a:pt x="1159" y="1720"/>
                    <a:pt x="1156" y="1720"/>
                  </a:cubicBezTo>
                  <a:cubicBezTo>
                    <a:pt x="1148" y="1721"/>
                    <a:pt x="1141" y="1721"/>
                    <a:pt x="1133" y="1721"/>
                  </a:cubicBezTo>
                  <a:cubicBezTo>
                    <a:pt x="1126" y="1722"/>
                    <a:pt x="1120" y="1722"/>
                    <a:pt x="1113" y="1722"/>
                  </a:cubicBezTo>
                  <a:cubicBezTo>
                    <a:pt x="1107" y="1722"/>
                    <a:pt x="1100" y="1722"/>
                    <a:pt x="1093" y="1721"/>
                  </a:cubicBezTo>
                  <a:cubicBezTo>
                    <a:pt x="1091" y="1721"/>
                    <a:pt x="1090" y="1721"/>
                    <a:pt x="1088" y="1721"/>
                  </a:cubicBezTo>
                  <a:cubicBezTo>
                    <a:pt x="1082" y="1721"/>
                    <a:pt x="1076" y="1721"/>
                    <a:pt x="1070" y="1720"/>
                  </a:cubicBezTo>
                  <a:cubicBezTo>
                    <a:pt x="1063" y="1720"/>
                    <a:pt x="1055" y="1719"/>
                    <a:pt x="1048" y="1718"/>
                  </a:cubicBezTo>
                  <a:cubicBezTo>
                    <a:pt x="1041" y="1718"/>
                    <a:pt x="1034" y="1717"/>
                    <a:pt x="1027" y="1716"/>
                  </a:cubicBezTo>
                  <a:cubicBezTo>
                    <a:pt x="1013" y="1714"/>
                    <a:pt x="999" y="1711"/>
                    <a:pt x="985" y="1708"/>
                  </a:cubicBezTo>
                  <a:cubicBezTo>
                    <a:pt x="972" y="1706"/>
                    <a:pt x="958" y="1702"/>
                    <a:pt x="945" y="1699"/>
                  </a:cubicBezTo>
                  <a:cubicBezTo>
                    <a:pt x="743" y="1641"/>
                    <a:pt x="584" y="1482"/>
                    <a:pt x="527" y="1280"/>
                  </a:cubicBezTo>
                  <a:cubicBezTo>
                    <a:pt x="524" y="1270"/>
                    <a:pt x="521" y="1259"/>
                    <a:pt x="518" y="1249"/>
                  </a:cubicBezTo>
                  <a:cubicBezTo>
                    <a:pt x="518" y="1246"/>
                    <a:pt x="517" y="1244"/>
                    <a:pt x="517" y="1242"/>
                  </a:cubicBezTo>
                  <a:cubicBezTo>
                    <a:pt x="516" y="1236"/>
                    <a:pt x="515" y="1231"/>
                    <a:pt x="514" y="1225"/>
                  </a:cubicBezTo>
                  <a:cubicBezTo>
                    <a:pt x="509" y="1203"/>
                    <a:pt x="506" y="1181"/>
                    <a:pt x="505" y="1158"/>
                  </a:cubicBezTo>
                  <a:cubicBezTo>
                    <a:pt x="504" y="1153"/>
                    <a:pt x="504" y="1149"/>
                    <a:pt x="504" y="1144"/>
                  </a:cubicBezTo>
                  <a:cubicBezTo>
                    <a:pt x="504" y="1139"/>
                    <a:pt x="503" y="1134"/>
                    <a:pt x="503" y="1129"/>
                  </a:cubicBezTo>
                  <a:cubicBezTo>
                    <a:pt x="503" y="1118"/>
                    <a:pt x="503" y="1106"/>
                    <a:pt x="503" y="1095"/>
                  </a:cubicBezTo>
                  <a:cubicBezTo>
                    <a:pt x="503" y="1091"/>
                    <a:pt x="504" y="1087"/>
                    <a:pt x="504" y="1083"/>
                  </a:cubicBezTo>
                  <a:cubicBezTo>
                    <a:pt x="505" y="1064"/>
                    <a:pt x="506" y="1046"/>
                    <a:pt x="509" y="1027"/>
                  </a:cubicBezTo>
                  <a:cubicBezTo>
                    <a:pt x="510" y="1023"/>
                    <a:pt x="510" y="1019"/>
                    <a:pt x="511" y="1016"/>
                  </a:cubicBezTo>
                  <a:cubicBezTo>
                    <a:pt x="512" y="1007"/>
                    <a:pt x="514" y="998"/>
                    <a:pt x="516" y="990"/>
                  </a:cubicBezTo>
                  <a:cubicBezTo>
                    <a:pt x="516" y="986"/>
                    <a:pt x="517" y="982"/>
                    <a:pt x="518" y="979"/>
                  </a:cubicBezTo>
                  <a:cubicBezTo>
                    <a:pt x="518" y="976"/>
                    <a:pt x="519" y="974"/>
                    <a:pt x="520" y="972"/>
                  </a:cubicBezTo>
                  <a:cubicBezTo>
                    <a:pt x="521" y="968"/>
                    <a:pt x="522" y="963"/>
                    <a:pt x="523" y="959"/>
                  </a:cubicBezTo>
                  <a:cubicBezTo>
                    <a:pt x="538" y="900"/>
                    <a:pt x="562" y="845"/>
                    <a:pt x="593" y="795"/>
                  </a:cubicBezTo>
                  <a:cubicBezTo>
                    <a:pt x="595" y="791"/>
                    <a:pt x="597" y="788"/>
                    <a:pt x="599" y="785"/>
                  </a:cubicBezTo>
                  <a:cubicBezTo>
                    <a:pt x="604" y="777"/>
                    <a:pt x="610" y="768"/>
                    <a:pt x="615" y="760"/>
                  </a:cubicBezTo>
                  <a:cubicBezTo>
                    <a:pt x="618" y="757"/>
                    <a:pt x="621" y="753"/>
                    <a:pt x="623" y="749"/>
                  </a:cubicBezTo>
                  <a:cubicBezTo>
                    <a:pt x="632" y="738"/>
                    <a:pt x="641" y="727"/>
                    <a:pt x="650" y="716"/>
                  </a:cubicBezTo>
                  <a:cubicBezTo>
                    <a:pt x="656" y="709"/>
                    <a:pt x="662" y="702"/>
                    <a:pt x="668" y="696"/>
                  </a:cubicBezTo>
                  <a:cubicBezTo>
                    <a:pt x="671" y="693"/>
                    <a:pt x="673" y="691"/>
                    <a:pt x="675" y="688"/>
                  </a:cubicBezTo>
                  <a:lnTo>
                    <a:pt x="676" y="687"/>
                  </a:lnTo>
                  <a:cubicBezTo>
                    <a:pt x="679" y="684"/>
                    <a:pt x="683" y="681"/>
                    <a:pt x="686" y="678"/>
                  </a:cubicBezTo>
                  <a:cubicBezTo>
                    <a:pt x="699" y="665"/>
                    <a:pt x="712" y="653"/>
                    <a:pt x="726" y="641"/>
                  </a:cubicBezTo>
                  <a:cubicBezTo>
                    <a:pt x="730" y="638"/>
                    <a:pt x="733" y="636"/>
                    <a:pt x="737" y="633"/>
                  </a:cubicBezTo>
                  <a:cubicBezTo>
                    <a:pt x="741" y="630"/>
                    <a:pt x="744" y="627"/>
                    <a:pt x="748" y="625"/>
                  </a:cubicBezTo>
                  <a:cubicBezTo>
                    <a:pt x="751" y="622"/>
                    <a:pt x="755" y="619"/>
                    <a:pt x="759" y="617"/>
                  </a:cubicBezTo>
                  <a:cubicBezTo>
                    <a:pt x="763" y="614"/>
                    <a:pt x="766" y="611"/>
                    <a:pt x="770" y="609"/>
                  </a:cubicBezTo>
                  <a:cubicBezTo>
                    <a:pt x="774" y="606"/>
                    <a:pt x="778" y="603"/>
                    <a:pt x="781" y="601"/>
                  </a:cubicBezTo>
                  <a:cubicBezTo>
                    <a:pt x="785" y="599"/>
                    <a:pt x="789" y="597"/>
                    <a:pt x="792" y="594"/>
                  </a:cubicBezTo>
                  <a:cubicBezTo>
                    <a:pt x="804" y="587"/>
                    <a:pt x="816" y="580"/>
                    <a:pt x="829" y="573"/>
                  </a:cubicBezTo>
                  <a:lnTo>
                    <a:pt x="831" y="572"/>
                  </a:lnTo>
                  <a:cubicBezTo>
                    <a:pt x="834" y="570"/>
                    <a:pt x="838" y="569"/>
                    <a:pt x="841" y="567"/>
                  </a:cubicBezTo>
                  <a:cubicBezTo>
                    <a:pt x="846" y="565"/>
                    <a:pt x="852" y="562"/>
                    <a:pt x="857" y="559"/>
                  </a:cubicBezTo>
                  <a:cubicBezTo>
                    <a:pt x="860" y="558"/>
                    <a:pt x="863" y="557"/>
                    <a:pt x="866" y="555"/>
                  </a:cubicBezTo>
                  <a:cubicBezTo>
                    <a:pt x="879" y="550"/>
                    <a:pt x="892" y="545"/>
                    <a:pt x="905" y="540"/>
                  </a:cubicBezTo>
                  <a:cubicBezTo>
                    <a:pt x="914" y="537"/>
                    <a:pt x="922" y="534"/>
                    <a:pt x="931" y="531"/>
                  </a:cubicBezTo>
                  <a:cubicBezTo>
                    <a:pt x="936" y="530"/>
                    <a:pt x="940" y="528"/>
                    <a:pt x="945" y="527"/>
                  </a:cubicBezTo>
                  <a:cubicBezTo>
                    <a:pt x="953" y="525"/>
                    <a:pt x="962" y="522"/>
                    <a:pt x="970" y="520"/>
                  </a:cubicBezTo>
                  <a:cubicBezTo>
                    <a:pt x="975" y="519"/>
                    <a:pt x="981" y="518"/>
                    <a:pt x="986" y="517"/>
                  </a:cubicBezTo>
                  <a:cubicBezTo>
                    <a:pt x="991" y="516"/>
                    <a:pt x="995" y="515"/>
                    <a:pt x="1000" y="514"/>
                  </a:cubicBezTo>
                  <a:cubicBezTo>
                    <a:pt x="1005" y="513"/>
                    <a:pt x="1009" y="512"/>
                    <a:pt x="1014" y="512"/>
                  </a:cubicBezTo>
                  <a:cubicBezTo>
                    <a:pt x="1019" y="511"/>
                    <a:pt x="1023" y="510"/>
                    <a:pt x="1028" y="510"/>
                  </a:cubicBezTo>
                  <a:cubicBezTo>
                    <a:pt x="1033" y="509"/>
                    <a:pt x="1038" y="508"/>
                    <a:pt x="1043" y="508"/>
                  </a:cubicBezTo>
                  <a:cubicBezTo>
                    <a:pt x="1061" y="506"/>
                    <a:pt x="1079" y="504"/>
                    <a:pt x="1098" y="504"/>
                  </a:cubicBezTo>
                  <a:cubicBezTo>
                    <a:pt x="1155" y="503"/>
                    <a:pt x="1211" y="509"/>
                    <a:pt x="1264" y="523"/>
                  </a:cubicBezTo>
                  <a:cubicBezTo>
                    <a:pt x="1300" y="532"/>
                    <a:pt x="1334" y="544"/>
                    <a:pt x="1367" y="559"/>
                  </a:cubicBezTo>
                  <a:cubicBezTo>
                    <a:pt x="1415" y="581"/>
                    <a:pt x="1460" y="610"/>
                    <a:pt x="1500" y="643"/>
                  </a:cubicBezTo>
                  <a:cubicBezTo>
                    <a:pt x="1503" y="646"/>
                    <a:pt x="1507" y="649"/>
                    <a:pt x="1510" y="652"/>
                  </a:cubicBezTo>
                  <a:cubicBezTo>
                    <a:pt x="1527" y="666"/>
                    <a:pt x="1542" y="681"/>
                    <a:pt x="1557" y="697"/>
                  </a:cubicBezTo>
                  <a:lnTo>
                    <a:pt x="1561" y="701"/>
                  </a:lnTo>
                  <a:cubicBezTo>
                    <a:pt x="1651" y="799"/>
                    <a:pt x="1710" y="928"/>
                    <a:pt x="1720" y="1072"/>
                  </a:cubicBezTo>
                  <a:cubicBezTo>
                    <a:pt x="1720" y="1078"/>
                    <a:pt x="1721" y="1084"/>
                    <a:pt x="1721" y="1090"/>
                  </a:cubicBezTo>
                  <a:cubicBezTo>
                    <a:pt x="1722" y="1121"/>
                    <a:pt x="1721" y="1152"/>
                    <a:pt x="1718" y="1183"/>
                  </a:cubicBezTo>
                  <a:cubicBezTo>
                    <a:pt x="1717" y="1190"/>
                    <a:pt x="1716" y="1198"/>
                    <a:pt x="1715" y="1205"/>
                  </a:cubicBezTo>
                  <a:cubicBezTo>
                    <a:pt x="1714" y="1208"/>
                    <a:pt x="1714" y="1211"/>
                    <a:pt x="1713" y="1213"/>
                  </a:cubicBezTo>
                  <a:cubicBezTo>
                    <a:pt x="1711" y="1228"/>
                    <a:pt x="1708" y="1243"/>
                    <a:pt x="1704" y="1257"/>
                  </a:cubicBezTo>
                  <a:cubicBezTo>
                    <a:pt x="1703" y="1261"/>
                    <a:pt x="1703" y="1264"/>
                    <a:pt x="1702" y="1268"/>
                  </a:cubicBezTo>
                  <a:cubicBezTo>
                    <a:pt x="1700" y="1274"/>
                    <a:pt x="1698" y="1280"/>
                    <a:pt x="1697" y="1286"/>
                  </a:cubicBezTo>
                  <a:cubicBezTo>
                    <a:pt x="1696" y="1288"/>
                    <a:pt x="1695" y="1291"/>
                    <a:pt x="1694" y="1293"/>
                  </a:cubicBezTo>
                  <a:cubicBezTo>
                    <a:pt x="1690" y="1308"/>
                    <a:pt x="1685" y="1322"/>
                    <a:pt x="1679" y="1336"/>
                  </a:cubicBezTo>
                  <a:cubicBezTo>
                    <a:pt x="1678" y="1339"/>
                    <a:pt x="1677" y="1342"/>
                    <a:pt x="1676" y="1345"/>
                  </a:cubicBezTo>
                  <a:cubicBezTo>
                    <a:pt x="1672" y="1354"/>
                    <a:pt x="1668" y="1363"/>
                    <a:pt x="1664" y="1371"/>
                  </a:cubicBezTo>
                  <a:cubicBezTo>
                    <a:pt x="1661" y="1377"/>
                    <a:pt x="1658" y="1383"/>
                    <a:pt x="1655" y="1389"/>
                  </a:cubicBezTo>
                  <a:moveTo>
                    <a:pt x="2028" y="1062"/>
                  </a:moveTo>
                  <a:cubicBezTo>
                    <a:pt x="2033" y="1060"/>
                    <a:pt x="2037" y="1057"/>
                    <a:pt x="2042" y="1055"/>
                  </a:cubicBezTo>
                  <a:cubicBezTo>
                    <a:pt x="2099" y="1032"/>
                    <a:pt x="2157" y="1009"/>
                    <a:pt x="2214" y="986"/>
                  </a:cubicBezTo>
                  <a:cubicBezTo>
                    <a:pt x="2219" y="985"/>
                    <a:pt x="2224" y="984"/>
                    <a:pt x="2229" y="983"/>
                  </a:cubicBezTo>
                  <a:lnTo>
                    <a:pt x="2229" y="967"/>
                  </a:lnTo>
                  <a:cubicBezTo>
                    <a:pt x="2224" y="947"/>
                    <a:pt x="2218" y="926"/>
                    <a:pt x="2213" y="905"/>
                  </a:cubicBezTo>
                  <a:cubicBezTo>
                    <a:pt x="2212" y="898"/>
                    <a:pt x="2210" y="892"/>
                    <a:pt x="2208" y="885"/>
                  </a:cubicBezTo>
                  <a:cubicBezTo>
                    <a:pt x="2203" y="860"/>
                    <a:pt x="2197" y="835"/>
                    <a:pt x="2192" y="809"/>
                  </a:cubicBezTo>
                  <a:lnTo>
                    <a:pt x="1978" y="809"/>
                  </a:lnTo>
                  <a:cubicBezTo>
                    <a:pt x="1965" y="779"/>
                    <a:pt x="1952" y="748"/>
                    <a:pt x="1941" y="722"/>
                  </a:cubicBezTo>
                  <a:cubicBezTo>
                    <a:pt x="1992" y="669"/>
                    <a:pt x="2041" y="618"/>
                    <a:pt x="2091" y="567"/>
                  </a:cubicBezTo>
                  <a:cubicBezTo>
                    <a:pt x="2074" y="537"/>
                    <a:pt x="2056" y="508"/>
                    <a:pt x="2037" y="481"/>
                  </a:cubicBezTo>
                  <a:cubicBezTo>
                    <a:pt x="2023" y="460"/>
                    <a:pt x="2008" y="440"/>
                    <a:pt x="1992" y="420"/>
                  </a:cubicBezTo>
                  <a:cubicBezTo>
                    <a:pt x="1925" y="442"/>
                    <a:pt x="1861" y="472"/>
                    <a:pt x="1799" y="501"/>
                  </a:cubicBezTo>
                  <a:cubicBezTo>
                    <a:pt x="1774" y="475"/>
                    <a:pt x="1750" y="451"/>
                    <a:pt x="1725" y="427"/>
                  </a:cubicBezTo>
                  <a:cubicBezTo>
                    <a:pt x="1728" y="420"/>
                    <a:pt x="1731" y="414"/>
                    <a:pt x="1734" y="407"/>
                  </a:cubicBezTo>
                  <a:cubicBezTo>
                    <a:pt x="1738" y="397"/>
                    <a:pt x="1742" y="387"/>
                    <a:pt x="1747" y="376"/>
                  </a:cubicBezTo>
                  <a:cubicBezTo>
                    <a:pt x="1757" y="352"/>
                    <a:pt x="1768" y="326"/>
                    <a:pt x="1779" y="301"/>
                  </a:cubicBezTo>
                  <a:cubicBezTo>
                    <a:pt x="1788" y="279"/>
                    <a:pt x="1798" y="257"/>
                    <a:pt x="1807" y="234"/>
                  </a:cubicBezTo>
                  <a:cubicBezTo>
                    <a:pt x="1761" y="197"/>
                    <a:pt x="1713" y="165"/>
                    <a:pt x="1661" y="136"/>
                  </a:cubicBezTo>
                  <a:cubicBezTo>
                    <a:pt x="1620" y="170"/>
                    <a:pt x="1583" y="208"/>
                    <a:pt x="1547" y="248"/>
                  </a:cubicBezTo>
                  <a:lnTo>
                    <a:pt x="1547" y="248"/>
                  </a:lnTo>
                  <a:cubicBezTo>
                    <a:pt x="1534" y="261"/>
                    <a:pt x="1523" y="273"/>
                    <a:pt x="1511" y="287"/>
                  </a:cubicBezTo>
                  <a:cubicBezTo>
                    <a:pt x="1481" y="274"/>
                    <a:pt x="1452" y="262"/>
                    <a:pt x="1422" y="250"/>
                  </a:cubicBezTo>
                  <a:cubicBezTo>
                    <a:pt x="1420" y="249"/>
                    <a:pt x="1418" y="248"/>
                    <a:pt x="1416" y="247"/>
                  </a:cubicBezTo>
                  <a:lnTo>
                    <a:pt x="1416" y="35"/>
                  </a:lnTo>
                  <a:lnTo>
                    <a:pt x="1414" y="34"/>
                  </a:lnTo>
                  <a:cubicBezTo>
                    <a:pt x="1404" y="31"/>
                    <a:pt x="1395" y="29"/>
                    <a:pt x="1386" y="26"/>
                  </a:cubicBezTo>
                  <a:cubicBezTo>
                    <a:pt x="1380" y="25"/>
                    <a:pt x="1373" y="23"/>
                    <a:pt x="1367" y="22"/>
                  </a:cubicBezTo>
                  <a:cubicBezTo>
                    <a:pt x="1355" y="19"/>
                    <a:pt x="1343" y="16"/>
                    <a:pt x="1330" y="14"/>
                  </a:cubicBezTo>
                  <a:cubicBezTo>
                    <a:pt x="1324" y="12"/>
                    <a:pt x="1318" y="11"/>
                    <a:pt x="1312" y="10"/>
                  </a:cubicBezTo>
                  <a:cubicBezTo>
                    <a:pt x="1305" y="9"/>
                    <a:pt x="1298" y="8"/>
                    <a:pt x="1291" y="7"/>
                  </a:cubicBezTo>
                  <a:cubicBezTo>
                    <a:pt x="1286" y="6"/>
                    <a:pt x="1282" y="5"/>
                    <a:pt x="1277" y="5"/>
                  </a:cubicBezTo>
                  <a:cubicBezTo>
                    <a:pt x="1265" y="3"/>
                    <a:pt x="1253" y="2"/>
                    <a:pt x="1241" y="0"/>
                  </a:cubicBezTo>
                  <a:cubicBezTo>
                    <a:pt x="1238" y="10"/>
                    <a:pt x="1234" y="20"/>
                    <a:pt x="1230" y="29"/>
                  </a:cubicBezTo>
                  <a:cubicBezTo>
                    <a:pt x="1226" y="39"/>
                    <a:pt x="1222" y="49"/>
                    <a:pt x="1218" y="59"/>
                  </a:cubicBezTo>
                  <a:cubicBezTo>
                    <a:pt x="1207" y="85"/>
                    <a:pt x="1197" y="111"/>
                    <a:pt x="1186" y="138"/>
                  </a:cubicBezTo>
                  <a:cubicBezTo>
                    <a:pt x="1178" y="157"/>
                    <a:pt x="1171" y="177"/>
                    <a:pt x="1163" y="196"/>
                  </a:cubicBezTo>
                  <a:lnTo>
                    <a:pt x="1062" y="196"/>
                  </a:lnTo>
                  <a:cubicBezTo>
                    <a:pt x="1061" y="194"/>
                    <a:pt x="1060" y="191"/>
                    <a:pt x="1058" y="188"/>
                  </a:cubicBezTo>
                  <a:lnTo>
                    <a:pt x="1058" y="188"/>
                  </a:lnTo>
                  <a:cubicBezTo>
                    <a:pt x="1033" y="126"/>
                    <a:pt x="1008" y="64"/>
                    <a:pt x="983" y="1"/>
                  </a:cubicBezTo>
                  <a:cubicBezTo>
                    <a:pt x="978" y="1"/>
                    <a:pt x="973" y="2"/>
                    <a:pt x="969" y="2"/>
                  </a:cubicBezTo>
                  <a:cubicBezTo>
                    <a:pt x="965" y="2"/>
                    <a:pt x="961" y="3"/>
                    <a:pt x="957" y="3"/>
                  </a:cubicBezTo>
                  <a:cubicBezTo>
                    <a:pt x="949" y="4"/>
                    <a:pt x="941" y="6"/>
                    <a:pt x="933" y="7"/>
                  </a:cubicBezTo>
                  <a:cubicBezTo>
                    <a:pt x="924" y="8"/>
                    <a:pt x="915" y="10"/>
                    <a:pt x="906" y="11"/>
                  </a:cubicBezTo>
                  <a:cubicBezTo>
                    <a:pt x="902" y="12"/>
                    <a:pt x="898" y="13"/>
                    <a:pt x="894" y="14"/>
                  </a:cubicBezTo>
                  <a:cubicBezTo>
                    <a:pt x="890" y="14"/>
                    <a:pt x="886" y="15"/>
                    <a:pt x="882" y="16"/>
                  </a:cubicBezTo>
                  <a:cubicBezTo>
                    <a:pt x="877" y="17"/>
                    <a:pt x="872" y="18"/>
                    <a:pt x="868" y="19"/>
                  </a:cubicBezTo>
                  <a:cubicBezTo>
                    <a:pt x="862" y="20"/>
                    <a:pt x="857" y="22"/>
                    <a:pt x="851" y="23"/>
                  </a:cubicBezTo>
                  <a:cubicBezTo>
                    <a:pt x="844" y="25"/>
                    <a:pt x="837" y="27"/>
                    <a:pt x="830" y="29"/>
                  </a:cubicBezTo>
                  <a:cubicBezTo>
                    <a:pt x="822" y="31"/>
                    <a:pt x="815" y="33"/>
                    <a:pt x="808" y="35"/>
                  </a:cubicBezTo>
                  <a:lnTo>
                    <a:pt x="808" y="247"/>
                  </a:lnTo>
                  <a:cubicBezTo>
                    <a:pt x="802" y="250"/>
                    <a:pt x="796" y="252"/>
                    <a:pt x="790" y="255"/>
                  </a:cubicBezTo>
                  <a:cubicBezTo>
                    <a:pt x="780" y="259"/>
                    <a:pt x="769" y="263"/>
                    <a:pt x="759" y="268"/>
                  </a:cubicBezTo>
                  <a:cubicBezTo>
                    <a:pt x="744" y="274"/>
                    <a:pt x="729" y="280"/>
                    <a:pt x="714" y="287"/>
                  </a:cubicBezTo>
                  <a:cubicBezTo>
                    <a:pt x="711" y="284"/>
                    <a:pt x="709" y="281"/>
                    <a:pt x="706" y="279"/>
                  </a:cubicBezTo>
                  <a:cubicBezTo>
                    <a:pt x="662" y="229"/>
                    <a:pt x="616" y="181"/>
                    <a:pt x="566" y="137"/>
                  </a:cubicBezTo>
                  <a:lnTo>
                    <a:pt x="566" y="137"/>
                  </a:lnTo>
                  <a:lnTo>
                    <a:pt x="564" y="136"/>
                  </a:lnTo>
                  <a:cubicBezTo>
                    <a:pt x="562" y="137"/>
                    <a:pt x="560" y="138"/>
                    <a:pt x="558" y="139"/>
                  </a:cubicBezTo>
                  <a:cubicBezTo>
                    <a:pt x="544" y="147"/>
                    <a:pt x="531" y="155"/>
                    <a:pt x="518" y="163"/>
                  </a:cubicBezTo>
                  <a:cubicBezTo>
                    <a:pt x="483" y="184"/>
                    <a:pt x="450" y="208"/>
                    <a:pt x="417" y="234"/>
                  </a:cubicBezTo>
                  <a:cubicBezTo>
                    <a:pt x="445" y="299"/>
                    <a:pt x="472" y="363"/>
                    <a:pt x="498" y="424"/>
                  </a:cubicBezTo>
                  <a:cubicBezTo>
                    <a:pt x="474" y="448"/>
                    <a:pt x="450" y="472"/>
                    <a:pt x="423" y="498"/>
                  </a:cubicBezTo>
                  <a:cubicBezTo>
                    <a:pt x="365" y="473"/>
                    <a:pt x="300" y="446"/>
                    <a:pt x="234" y="418"/>
                  </a:cubicBezTo>
                  <a:cubicBezTo>
                    <a:pt x="196" y="465"/>
                    <a:pt x="164" y="512"/>
                    <a:pt x="135" y="564"/>
                  </a:cubicBezTo>
                  <a:cubicBezTo>
                    <a:pt x="181" y="618"/>
                    <a:pt x="233" y="666"/>
                    <a:pt x="286" y="714"/>
                  </a:cubicBezTo>
                  <a:cubicBezTo>
                    <a:pt x="273" y="746"/>
                    <a:pt x="260" y="778"/>
                    <a:pt x="247" y="809"/>
                  </a:cubicBezTo>
                  <a:lnTo>
                    <a:pt x="35" y="809"/>
                  </a:lnTo>
                  <a:cubicBezTo>
                    <a:pt x="17" y="865"/>
                    <a:pt x="7" y="922"/>
                    <a:pt x="0" y="983"/>
                  </a:cubicBezTo>
                  <a:cubicBezTo>
                    <a:pt x="65" y="1009"/>
                    <a:pt x="129" y="1035"/>
                    <a:pt x="196" y="1062"/>
                  </a:cubicBezTo>
                  <a:lnTo>
                    <a:pt x="196" y="1163"/>
                  </a:lnTo>
                  <a:cubicBezTo>
                    <a:pt x="131" y="1189"/>
                    <a:pt x="66" y="1215"/>
                    <a:pt x="0" y="1242"/>
                  </a:cubicBezTo>
                  <a:cubicBezTo>
                    <a:pt x="5" y="1302"/>
                    <a:pt x="18" y="1358"/>
                    <a:pt x="33" y="1415"/>
                  </a:cubicBezTo>
                  <a:cubicBezTo>
                    <a:pt x="104" y="1421"/>
                    <a:pt x="174" y="1417"/>
                    <a:pt x="246" y="1416"/>
                  </a:cubicBezTo>
                  <a:cubicBezTo>
                    <a:pt x="259" y="1446"/>
                    <a:pt x="272" y="1477"/>
                    <a:pt x="286" y="1510"/>
                  </a:cubicBezTo>
                  <a:cubicBezTo>
                    <a:pt x="235" y="1559"/>
                    <a:pt x="182" y="1606"/>
                    <a:pt x="135" y="1661"/>
                  </a:cubicBezTo>
                  <a:cubicBezTo>
                    <a:pt x="164" y="1713"/>
                    <a:pt x="196" y="1760"/>
                    <a:pt x="234" y="1808"/>
                  </a:cubicBezTo>
                  <a:cubicBezTo>
                    <a:pt x="299" y="1780"/>
                    <a:pt x="363" y="1753"/>
                    <a:pt x="424" y="1727"/>
                  </a:cubicBezTo>
                  <a:cubicBezTo>
                    <a:pt x="448" y="1751"/>
                    <a:pt x="472" y="1775"/>
                    <a:pt x="498" y="1801"/>
                  </a:cubicBezTo>
                  <a:cubicBezTo>
                    <a:pt x="473" y="1861"/>
                    <a:pt x="445" y="1925"/>
                    <a:pt x="417" y="1991"/>
                  </a:cubicBezTo>
                  <a:cubicBezTo>
                    <a:pt x="465" y="2029"/>
                    <a:pt x="512" y="2061"/>
                    <a:pt x="564" y="2090"/>
                  </a:cubicBezTo>
                  <a:cubicBezTo>
                    <a:pt x="618" y="2043"/>
                    <a:pt x="665" y="1991"/>
                    <a:pt x="714" y="1939"/>
                  </a:cubicBezTo>
                  <a:cubicBezTo>
                    <a:pt x="745" y="1952"/>
                    <a:pt x="776" y="1965"/>
                    <a:pt x="808" y="1978"/>
                  </a:cubicBezTo>
                  <a:lnTo>
                    <a:pt x="808" y="2190"/>
                  </a:lnTo>
                  <a:cubicBezTo>
                    <a:pt x="865" y="2208"/>
                    <a:pt x="922" y="2218"/>
                    <a:pt x="983" y="2225"/>
                  </a:cubicBezTo>
                  <a:cubicBezTo>
                    <a:pt x="1009" y="2159"/>
                    <a:pt x="1035" y="2095"/>
                    <a:pt x="1062" y="2029"/>
                  </a:cubicBezTo>
                  <a:lnTo>
                    <a:pt x="1162" y="2029"/>
                  </a:lnTo>
                  <a:cubicBezTo>
                    <a:pt x="1188" y="2093"/>
                    <a:pt x="1214" y="2158"/>
                    <a:pt x="1241" y="2225"/>
                  </a:cubicBezTo>
                  <a:cubicBezTo>
                    <a:pt x="1302" y="2219"/>
                    <a:pt x="1359" y="2207"/>
                    <a:pt x="1416" y="2191"/>
                  </a:cubicBezTo>
                  <a:lnTo>
                    <a:pt x="1416" y="1978"/>
                  </a:lnTo>
                  <a:cubicBezTo>
                    <a:pt x="1446" y="1966"/>
                    <a:pt x="1477" y="1953"/>
                    <a:pt x="1510" y="1938"/>
                  </a:cubicBezTo>
                  <a:cubicBezTo>
                    <a:pt x="1558" y="1990"/>
                    <a:pt x="1606" y="2042"/>
                    <a:pt x="1659" y="2089"/>
                  </a:cubicBezTo>
                  <a:cubicBezTo>
                    <a:pt x="1700" y="2069"/>
                    <a:pt x="1778" y="2017"/>
                    <a:pt x="1806" y="1989"/>
                  </a:cubicBezTo>
                  <a:cubicBezTo>
                    <a:pt x="1780" y="1926"/>
                    <a:pt x="1752" y="1862"/>
                    <a:pt x="1726" y="1801"/>
                  </a:cubicBezTo>
                  <a:lnTo>
                    <a:pt x="1801" y="1727"/>
                  </a:lnTo>
                  <a:cubicBezTo>
                    <a:pt x="1860" y="1752"/>
                    <a:pt x="1925" y="1780"/>
                    <a:pt x="1990" y="1808"/>
                  </a:cubicBezTo>
                  <a:cubicBezTo>
                    <a:pt x="2029" y="1760"/>
                    <a:pt x="2060" y="1713"/>
                    <a:pt x="2089" y="1661"/>
                  </a:cubicBezTo>
                  <a:cubicBezTo>
                    <a:pt x="2042" y="1607"/>
                    <a:pt x="1991" y="1559"/>
                    <a:pt x="1938" y="1511"/>
                  </a:cubicBezTo>
                  <a:cubicBezTo>
                    <a:pt x="1949" y="1486"/>
                    <a:pt x="1959" y="1460"/>
                    <a:pt x="1970" y="1435"/>
                  </a:cubicBezTo>
                  <a:cubicBezTo>
                    <a:pt x="1972" y="1429"/>
                    <a:pt x="1975" y="1423"/>
                    <a:pt x="1977" y="1416"/>
                  </a:cubicBezTo>
                  <a:lnTo>
                    <a:pt x="2190" y="1416"/>
                  </a:lnTo>
                  <a:cubicBezTo>
                    <a:pt x="2204" y="1374"/>
                    <a:pt x="2211" y="1332"/>
                    <a:pt x="2219" y="1290"/>
                  </a:cubicBezTo>
                  <a:cubicBezTo>
                    <a:pt x="2220" y="1280"/>
                    <a:pt x="2225" y="1271"/>
                    <a:pt x="2229" y="1262"/>
                  </a:cubicBezTo>
                  <a:lnTo>
                    <a:pt x="2229" y="1241"/>
                  </a:lnTo>
                  <a:cubicBezTo>
                    <a:pt x="2222" y="1240"/>
                    <a:pt x="2215" y="1239"/>
                    <a:pt x="2209" y="1237"/>
                  </a:cubicBezTo>
                  <a:cubicBezTo>
                    <a:pt x="2154" y="1215"/>
                    <a:pt x="2099" y="1193"/>
                    <a:pt x="2044" y="1171"/>
                  </a:cubicBezTo>
                  <a:cubicBezTo>
                    <a:pt x="2039" y="1169"/>
                    <a:pt x="2033" y="1166"/>
                    <a:pt x="2028" y="1163"/>
                  </a:cubicBezTo>
                  <a:lnTo>
                    <a:pt x="2028" y="1062"/>
                  </a:lnTo>
                </a:path>
              </a:pathLst>
            </a:custGeom>
            <a:solidFill>
              <a:srgbClr val="BAD1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84">
              <a:extLst>
                <a:ext uri="{FF2B5EF4-FFF2-40B4-BE49-F238E27FC236}">
                  <a16:creationId xmlns:a16="http://schemas.microsoft.com/office/drawing/2014/main" id="{4E33B8CE-0972-DDDB-2146-17B3EDBE6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408738" y="3113088"/>
              <a:ext cx="446088" cy="522288"/>
            </a:xfrm>
            <a:custGeom>
              <a:avLst/>
              <a:gdLst>
                <a:gd name="T0" fmla="*/ 732 w 988"/>
                <a:gd name="T1" fmla="*/ 411 h 1144"/>
                <a:gd name="T2" fmla="*/ 684 w 988"/>
                <a:gd name="T3" fmla="*/ 421 h 1144"/>
                <a:gd name="T4" fmla="*/ 675 w 988"/>
                <a:gd name="T5" fmla="*/ 420 h 1144"/>
                <a:gd name="T6" fmla="*/ 649 w 988"/>
                <a:gd name="T7" fmla="*/ 409 h 1144"/>
                <a:gd name="T8" fmla="*/ 635 w 988"/>
                <a:gd name="T9" fmla="*/ 398 h 1144"/>
                <a:gd name="T10" fmla="*/ 629 w 988"/>
                <a:gd name="T11" fmla="*/ 391 h 1144"/>
                <a:gd name="T12" fmla="*/ 627 w 988"/>
                <a:gd name="T13" fmla="*/ 389 h 1144"/>
                <a:gd name="T14" fmla="*/ 611 w 988"/>
                <a:gd name="T15" fmla="*/ 341 h 1144"/>
                <a:gd name="T16" fmla="*/ 613 w 988"/>
                <a:gd name="T17" fmla="*/ 324 h 1144"/>
                <a:gd name="T18" fmla="*/ 622 w 988"/>
                <a:gd name="T19" fmla="*/ 301 h 1144"/>
                <a:gd name="T20" fmla="*/ 627 w 988"/>
                <a:gd name="T21" fmla="*/ 293 h 1144"/>
                <a:gd name="T22" fmla="*/ 632 w 988"/>
                <a:gd name="T23" fmla="*/ 287 h 1144"/>
                <a:gd name="T24" fmla="*/ 639 w 988"/>
                <a:gd name="T25" fmla="*/ 280 h 1144"/>
                <a:gd name="T26" fmla="*/ 715 w 988"/>
                <a:gd name="T27" fmla="*/ 264 h 1144"/>
                <a:gd name="T28" fmla="*/ 771 w 988"/>
                <a:gd name="T29" fmla="*/ 355 h 1144"/>
                <a:gd name="T30" fmla="*/ 494 w 988"/>
                <a:gd name="T31" fmla="*/ 649 h 1144"/>
                <a:gd name="T32" fmla="*/ 384 w 988"/>
                <a:gd name="T33" fmla="*/ 678 h 1144"/>
                <a:gd name="T34" fmla="*/ 465 w 988"/>
                <a:gd name="T35" fmla="*/ 539 h 1144"/>
                <a:gd name="T36" fmla="*/ 494 w 988"/>
                <a:gd name="T37" fmla="*/ 649 h 1144"/>
                <a:gd name="T38" fmla="*/ 884 w 988"/>
                <a:gd name="T39" fmla="*/ 269 h 1144"/>
                <a:gd name="T40" fmla="*/ 781 w 988"/>
                <a:gd name="T41" fmla="*/ 165 h 1144"/>
                <a:gd name="T42" fmla="*/ 704 w 988"/>
                <a:gd name="T43" fmla="*/ 132 h 1144"/>
                <a:gd name="T44" fmla="*/ 651 w 988"/>
                <a:gd name="T45" fmla="*/ 143 h 1144"/>
                <a:gd name="T46" fmla="*/ 511 w 988"/>
                <a:gd name="T47" fmla="*/ 1 h 1144"/>
                <a:gd name="T48" fmla="*/ 503 w 988"/>
                <a:gd name="T49" fmla="*/ 3 h 1144"/>
                <a:gd name="T50" fmla="*/ 362 w 988"/>
                <a:gd name="T51" fmla="*/ 98 h 1144"/>
                <a:gd name="T52" fmla="*/ 368 w 988"/>
                <a:gd name="T53" fmla="*/ 362 h 1144"/>
                <a:gd name="T54" fmla="*/ 80 w 988"/>
                <a:gd name="T55" fmla="*/ 428 h 1144"/>
                <a:gd name="T56" fmla="*/ 192 w 988"/>
                <a:gd name="T57" fmla="*/ 673 h 1144"/>
                <a:gd name="T58" fmla="*/ 258 w 988"/>
                <a:gd name="T59" fmla="*/ 931 h 1144"/>
                <a:gd name="T60" fmla="*/ 377 w 988"/>
                <a:gd name="T61" fmla="*/ 911 h 1144"/>
                <a:gd name="T62" fmla="*/ 377 w 988"/>
                <a:gd name="T63" fmla="*/ 1037 h 1144"/>
                <a:gd name="T64" fmla="*/ 472 w 988"/>
                <a:gd name="T65" fmla="*/ 1144 h 1144"/>
                <a:gd name="T66" fmla="*/ 462 w 988"/>
                <a:gd name="T67" fmla="*/ 1106 h 1144"/>
                <a:gd name="T68" fmla="*/ 450 w 988"/>
                <a:gd name="T69" fmla="*/ 1022 h 1144"/>
                <a:gd name="T70" fmla="*/ 448 w 988"/>
                <a:gd name="T71" fmla="*/ 993 h 1144"/>
                <a:gd name="T72" fmla="*/ 449 w 988"/>
                <a:gd name="T73" fmla="*/ 947 h 1144"/>
                <a:gd name="T74" fmla="*/ 456 w 988"/>
                <a:gd name="T75" fmla="*/ 880 h 1144"/>
                <a:gd name="T76" fmla="*/ 463 w 988"/>
                <a:gd name="T77" fmla="*/ 843 h 1144"/>
                <a:gd name="T78" fmla="*/ 468 w 988"/>
                <a:gd name="T79" fmla="*/ 823 h 1144"/>
                <a:gd name="T80" fmla="*/ 544 w 988"/>
                <a:gd name="T81" fmla="*/ 649 h 1144"/>
                <a:gd name="T82" fmla="*/ 568 w 988"/>
                <a:gd name="T83" fmla="*/ 613 h 1144"/>
                <a:gd name="T84" fmla="*/ 613 w 988"/>
                <a:gd name="T85" fmla="*/ 560 h 1144"/>
                <a:gd name="T86" fmla="*/ 621 w 988"/>
                <a:gd name="T87" fmla="*/ 551 h 1144"/>
                <a:gd name="T88" fmla="*/ 671 w 988"/>
                <a:gd name="T89" fmla="*/ 505 h 1144"/>
                <a:gd name="T90" fmla="*/ 693 w 988"/>
                <a:gd name="T91" fmla="*/ 489 h 1144"/>
                <a:gd name="T92" fmla="*/ 715 w 988"/>
                <a:gd name="T93" fmla="*/ 473 h 1144"/>
                <a:gd name="T94" fmla="*/ 737 w 988"/>
                <a:gd name="T95" fmla="*/ 458 h 1144"/>
                <a:gd name="T96" fmla="*/ 776 w 988"/>
                <a:gd name="T97" fmla="*/ 436 h 1144"/>
                <a:gd name="T98" fmla="*/ 802 w 988"/>
                <a:gd name="T99" fmla="*/ 423 h 1144"/>
                <a:gd name="T100" fmla="*/ 850 w 988"/>
                <a:gd name="T101" fmla="*/ 404 h 1144"/>
                <a:gd name="T102" fmla="*/ 890 w 988"/>
                <a:gd name="T103" fmla="*/ 391 h 1144"/>
                <a:gd name="T104" fmla="*/ 931 w 988"/>
                <a:gd name="T105" fmla="*/ 381 h 1144"/>
                <a:gd name="T106" fmla="*/ 959 w 988"/>
                <a:gd name="T107" fmla="*/ 376 h 1144"/>
                <a:gd name="T108" fmla="*/ 988 w 988"/>
                <a:gd name="T109" fmla="*/ 372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88" h="1144">
                  <a:moveTo>
                    <a:pt x="771" y="355"/>
                  </a:moveTo>
                  <a:cubicBezTo>
                    <a:pt x="767" y="378"/>
                    <a:pt x="754" y="398"/>
                    <a:pt x="732" y="411"/>
                  </a:cubicBezTo>
                  <a:cubicBezTo>
                    <a:pt x="719" y="418"/>
                    <a:pt x="706" y="422"/>
                    <a:pt x="692" y="422"/>
                  </a:cubicBezTo>
                  <a:cubicBezTo>
                    <a:pt x="689" y="422"/>
                    <a:pt x="686" y="421"/>
                    <a:pt x="684" y="421"/>
                  </a:cubicBezTo>
                  <a:lnTo>
                    <a:pt x="682" y="421"/>
                  </a:lnTo>
                  <a:cubicBezTo>
                    <a:pt x="679" y="421"/>
                    <a:pt x="677" y="420"/>
                    <a:pt x="675" y="420"/>
                  </a:cubicBezTo>
                  <a:cubicBezTo>
                    <a:pt x="671" y="419"/>
                    <a:pt x="668" y="418"/>
                    <a:pt x="664" y="417"/>
                  </a:cubicBezTo>
                  <a:cubicBezTo>
                    <a:pt x="659" y="415"/>
                    <a:pt x="654" y="412"/>
                    <a:pt x="649" y="409"/>
                  </a:cubicBezTo>
                  <a:cubicBezTo>
                    <a:pt x="647" y="408"/>
                    <a:pt x="644" y="406"/>
                    <a:pt x="642" y="404"/>
                  </a:cubicBezTo>
                  <a:cubicBezTo>
                    <a:pt x="640" y="402"/>
                    <a:pt x="637" y="400"/>
                    <a:pt x="635" y="398"/>
                  </a:cubicBezTo>
                  <a:lnTo>
                    <a:pt x="635" y="398"/>
                  </a:lnTo>
                  <a:cubicBezTo>
                    <a:pt x="633" y="396"/>
                    <a:pt x="631" y="394"/>
                    <a:pt x="629" y="391"/>
                  </a:cubicBezTo>
                  <a:lnTo>
                    <a:pt x="629" y="391"/>
                  </a:lnTo>
                  <a:lnTo>
                    <a:pt x="627" y="389"/>
                  </a:lnTo>
                  <a:cubicBezTo>
                    <a:pt x="625" y="386"/>
                    <a:pt x="623" y="384"/>
                    <a:pt x="622" y="381"/>
                  </a:cubicBezTo>
                  <a:cubicBezTo>
                    <a:pt x="615" y="369"/>
                    <a:pt x="611" y="355"/>
                    <a:pt x="611" y="341"/>
                  </a:cubicBezTo>
                  <a:cubicBezTo>
                    <a:pt x="611" y="338"/>
                    <a:pt x="611" y="335"/>
                    <a:pt x="612" y="332"/>
                  </a:cubicBezTo>
                  <a:cubicBezTo>
                    <a:pt x="612" y="330"/>
                    <a:pt x="612" y="327"/>
                    <a:pt x="613" y="324"/>
                  </a:cubicBezTo>
                  <a:cubicBezTo>
                    <a:pt x="614" y="318"/>
                    <a:pt x="616" y="313"/>
                    <a:pt x="618" y="308"/>
                  </a:cubicBezTo>
                  <a:cubicBezTo>
                    <a:pt x="619" y="305"/>
                    <a:pt x="620" y="303"/>
                    <a:pt x="622" y="301"/>
                  </a:cubicBezTo>
                  <a:lnTo>
                    <a:pt x="623" y="299"/>
                  </a:lnTo>
                  <a:cubicBezTo>
                    <a:pt x="624" y="297"/>
                    <a:pt x="625" y="295"/>
                    <a:pt x="627" y="293"/>
                  </a:cubicBezTo>
                  <a:lnTo>
                    <a:pt x="627" y="292"/>
                  </a:lnTo>
                  <a:cubicBezTo>
                    <a:pt x="629" y="290"/>
                    <a:pt x="630" y="289"/>
                    <a:pt x="632" y="287"/>
                  </a:cubicBezTo>
                  <a:cubicBezTo>
                    <a:pt x="634" y="284"/>
                    <a:pt x="636" y="282"/>
                    <a:pt x="639" y="280"/>
                  </a:cubicBezTo>
                  <a:lnTo>
                    <a:pt x="639" y="280"/>
                  </a:lnTo>
                  <a:cubicBezTo>
                    <a:pt x="643" y="276"/>
                    <a:pt x="647" y="274"/>
                    <a:pt x="651" y="271"/>
                  </a:cubicBezTo>
                  <a:cubicBezTo>
                    <a:pt x="671" y="260"/>
                    <a:pt x="694" y="257"/>
                    <a:pt x="715" y="264"/>
                  </a:cubicBezTo>
                  <a:cubicBezTo>
                    <a:pt x="734" y="269"/>
                    <a:pt x="751" y="282"/>
                    <a:pt x="762" y="301"/>
                  </a:cubicBezTo>
                  <a:cubicBezTo>
                    <a:pt x="771" y="318"/>
                    <a:pt x="774" y="337"/>
                    <a:pt x="771" y="355"/>
                  </a:cubicBezTo>
                  <a:lnTo>
                    <a:pt x="771" y="355"/>
                  </a:lnTo>
                  <a:moveTo>
                    <a:pt x="494" y="649"/>
                  </a:moveTo>
                  <a:cubicBezTo>
                    <a:pt x="482" y="670"/>
                    <a:pt x="461" y="684"/>
                    <a:pt x="438" y="688"/>
                  </a:cubicBezTo>
                  <a:cubicBezTo>
                    <a:pt x="420" y="691"/>
                    <a:pt x="401" y="688"/>
                    <a:pt x="384" y="678"/>
                  </a:cubicBezTo>
                  <a:cubicBezTo>
                    <a:pt x="345" y="656"/>
                    <a:pt x="332" y="607"/>
                    <a:pt x="354" y="568"/>
                  </a:cubicBezTo>
                  <a:cubicBezTo>
                    <a:pt x="377" y="529"/>
                    <a:pt x="426" y="516"/>
                    <a:pt x="465" y="539"/>
                  </a:cubicBezTo>
                  <a:cubicBezTo>
                    <a:pt x="482" y="548"/>
                    <a:pt x="494" y="564"/>
                    <a:pt x="500" y="581"/>
                  </a:cubicBezTo>
                  <a:cubicBezTo>
                    <a:pt x="508" y="603"/>
                    <a:pt x="506" y="627"/>
                    <a:pt x="494" y="649"/>
                  </a:cubicBezTo>
                  <a:moveTo>
                    <a:pt x="921" y="305"/>
                  </a:moveTo>
                  <a:lnTo>
                    <a:pt x="884" y="269"/>
                  </a:lnTo>
                  <a:lnTo>
                    <a:pt x="799" y="183"/>
                  </a:lnTo>
                  <a:lnTo>
                    <a:pt x="781" y="165"/>
                  </a:lnTo>
                  <a:lnTo>
                    <a:pt x="735" y="119"/>
                  </a:lnTo>
                  <a:cubicBezTo>
                    <a:pt x="725" y="123"/>
                    <a:pt x="714" y="127"/>
                    <a:pt x="704" y="132"/>
                  </a:cubicBezTo>
                  <a:cubicBezTo>
                    <a:pt x="689" y="138"/>
                    <a:pt x="674" y="144"/>
                    <a:pt x="659" y="151"/>
                  </a:cubicBezTo>
                  <a:cubicBezTo>
                    <a:pt x="656" y="148"/>
                    <a:pt x="654" y="145"/>
                    <a:pt x="651" y="143"/>
                  </a:cubicBezTo>
                  <a:cubicBezTo>
                    <a:pt x="607" y="93"/>
                    <a:pt x="561" y="45"/>
                    <a:pt x="511" y="1"/>
                  </a:cubicBezTo>
                  <a:lnTo>
                    <a:pt x="511" y="1"/>
                  </a:lnTo>
                  <a:lnTo>
                    <a:pt x="509" y="0"/>
                  </a:lnTo>
                  <a:cubicBezTo>
                    <a:pt x="507" y="1"/>
                    <a:pt x="505" y="2"/>
                    <a:pt x="503" y="3"/>
                  </a:cubicBezTo>
                  <a:cubicBezTo>
                    <a:pt x="489" y="11"/>
                    <a:pt x="476" y="19"/>
                    <a:pt x="463" y="27"/>
                  </a:cubicBezTo>
                  <a:cubicBezTo>
                    <a:pt x="428" y="48"/>
                    <a:pt x="395" y="72"/>
                    <a:pt x="362" y="98"/>
                  </a:cubicBezTo>
                  <a:cubicBezTo>
                    <a:pt x="390" y="163"/>
                    <a:pt x="417" y="227"/>
                    <a:pt x="443" y="288"/>
                  </a:cubicBezTo>
                  <a:cubicBezTo>
                    <a:pt x="419" y="312"/>
                    <a:pt x="395" y="336"/>
                    <a:pt x="368" y="362"/>
                  </a:cubicBezTo>
                  <a:cubicBezTo>
                    <a:pt x="310" y="337"/>
                    <a:pt x="245" y="310"/>
                    <a:pt x="179" y="282"/>
                  </a:cubicBezTo>
                  <a:cubicBezTo>
                    <a:pt x="141" y="329"/>
                    <a:pt x="109" y="376"/>
                    <a:pt x="80" y="428"/>
                  </a:cubicBezTo>
                  <a:cubicBezTo>
                    <a:pt x="126" y="482"/>
                    <a:pt x="178" y="530"/>
                    <a:pt x="231" y="578"/>
                  </a:cubicBezTo>
                  <a:cubicBezTo>
                    <a:pt x="218" y="610"/>
                    <a:pt x="205" y="642"/>
                    <a:pt x="192" y="673"/>
                  </a:cubicBezTo>
                  <a:lnTo>
                    <a:pt x="0" y="673"/>
                  </a:lnTo>
                  <a:lnTo>
                    <a:pt x="258" y="931"/>
                  </a:lnTo>
                  <a:cubicBezTo>
                    <a:pt x="272" y="908"/>
                    <a:pt x="298" y="893"/>
                    <a:pt x="326" y="893"/>
                  </a:cubicBezTo>
                  <a:cubicBezTo>
                    <a:pt x="346" y="893"/>
                    <a:pt x="364" y="900"/>
                    <a:pt x="377" y="911"/>
                  </a:cubicBezTo>
                  <a:cubicBezTo>
                    <a:pt x="396" y="926"/>
                    <a:pt x="407" y="949"/>
                    <a:pt x="407" y="974"/>
                  </a:cubicBezTo>
                  <a:cubicBezTo>
                    <a:pt x="407" y="999"/>
                    <a:pt x="395" y="1022"/>
                    <a:pt x="377" y="1037"/>
                  </a:cubicBezTo>
                  <a:cubicBezTo>
                    <a:pt x="375" y="1039"/>
                    <a:pt x="372" y="1040"/>
                    <a:pt x="369" y="1042"/>
                  </a:cubicBezTo>
                  <a:lnTo>
                    <a:pt x="472" y="1144"/>
                  </a:lnTo>
                  <a:cubicBezTo>
                    <a:pt x="469" y="1134"/>
                    <a:pt x="466" y="1123"/>
                    <a:pt x="463" y="1113"/>
                  </a:cubicBezTo>
                  <a:cubicBezTo>
                    <a:pt x="463" y="1110"/>
                    <a:pt x="462" y="1108"/>
                    <a:pt x="462" y="1106"/>
                  </a:cubicBezTo>
                  <a:cubicBezTo>
                    <a:pt x="461" y="1100"/>
                    <a:pt x="460" y="1095"/>
                    <a:pt x="459" y="1089"/>
                  </a:cubicBezTo>
                  <a:cubicBezTo>
                    <a:pt x="454" y="1067"/>
                    <a:pt x="451" y="1045"/>
                    <a:pt x="450" y="1022"/>
                  </a:cubicBezTo>
                  <a:cubicBezTo>
                    <a:pt x="449" y="1017"/>
                    <a:pt x="449" y="1013"/>
                    <a:pt x="449" y="1008"/>
                  </a:cubicBezTo>
                  <a:cubicBezTo>
                    <a:pt x="449" y="1003"/>
                    <a:pt x="448" y="998"/>
                    <a:pt x="448" y="993"/>
                  </a:cubicBezTo>
                  <a:cubicBezTo>
                    <a:pt x="448" y="982"/>
                    <a:pt x="448" y="970"/>
                    <a:pt x="448" y="959"/>
                  </a:cubicBezTo>
                  <a:cubicBezTo>
                    <a:pt x="448" y="955"/>
                    <a:pt x="449" y="951"/>
                    <a:pt x="449" y="947"/>
                  </a:cubicBezTo>
                  <a:cubicBezTo>
                    <a:pt x="450" y="928"/>
                    <a:pt x="451" y="910"/>
                    <a:pt x="454" y="891"/>
                  </a:cubicBezTo>
                  <a:cubicBezTo>
                    <a:pt x="455" y="887"/>
                    <a:pt x="455" y="883"/>
                    <a:pt x="456" y="880"/>
                  </a:cubicBezTo>
                  <a:cubicBezTo>
                    <a:pt x="457" y="871"/>
                    <a:pt x="459" y="862"/>
                    <a:pt x="461" y="854"/>
                  </a:cubicBezTo>
                  <a:cubicBezTo>
                    <a:pt x="461" y="850"/>
                    <a:pt x="462" y="846"/>
                    <a:pt x="463" y="843"/>
                  </a:cubicBezTo>
                  <a:cubicBezTo>
                    <a:pt x="463" y="840"/>
                    <a:pt x="464" y="838"/>
                    <a:pt x="465" y="836"/>
                  </a:cubicBezTo>
                  <a:cubicBezTo>
                    <a:pt x="466" y="832"/>
                    <a:pt x="467" y="827"/>
                    <a:pt x="468" y="823"/>
                  </a:cubicBezTo>
                  <a:cubicBezTo>
                    <a:pt x="483" y="764"/>
                    <a:pt x="507" y="709"/>
                    <a:pt x="538" y="659"/>
                  </a:cubicBezTo>
                  <a:cubicBezTo>
                    <a:pt x="540" y="655"/>
                    <a:pt x="542" y="652"/>
                    <a:pt x="544" y="649"/>
                  </a:cubicBezTo>
                  <a:cubicBezTo>
                    <a:pt x="549" y="641"/>
                    <a:pt x="555" y="632"/>
                    <a:pt x="560" y="624"/>
                  </a:cubicBezTo>
                  <a:cubicBezTo>
                    <a:pt x="563" y="621"/>
                    <a:pt x="566" y="617"/>
                    <a:pt x="568" y="613"/>
                  </a:cubicBezTo>
                  <a:cubicBezTo>
                    <a:pt x="577" y="602"/>
                    <a:pt x="586" y="591"/>
                    <a:pt x="595" y="580"/>
                  </a:cubicBezTo>
                  <a:cubicBezTo>
                    <a:pt x="601" y="573"/>
                    <a:pt x="607" y="566"/>
                    <a:pt x="613" y="560"/>
                  </a:cubicBezTo>
                  <a:cubicBezTo>
                    <a:pt x="616" y="557"/>
                    <a:pt x="618" y="555"/>
                    <a:pt x="620" y="552"/>
                  </a:cubicBezTo>
                  <a:lnTo>
                    <a:pt x="621" y="551"/>
                  </a:lnTo>
                  <a:cubicBezTo>
                    <a:pt x="624" y="548"/>
                    <a:pt x="628" y="545"/>
                    <a:pt x="631" y="542"/>
                  </a:cubicBezTo>
                  <a:cubicBezTo>
                    <a:pt x="644" y="529"/>
                    <a:pt x="657" y="517"/>
                    <a:pt x="671" y="505"/>
                  </a:cubicBezTo>
                  <a:cubicBezTo>
                    <a:pt x="675" y="502"/>
                    <a:pt x="678" y="500"/>
                    <a:pt x="682" y="497"/>
                  </a:cubicBezTo>
                  <a:cubicBezTo>
                    <a:pt x="686" y="494"/>
                    <a:pt x="689" y="491"/>
                    <a:pt x="693" y="489"/>
                  </a:cubicBezTo>
                  <a:cubicBezTo>
                    <a:pt x="696" y="486"/>
                    <a:pt x="700" y="483"/>
                    <a:pt x="704" y="481"/>
                  </a:cubicBezTo>
                  <a:cubicBezTo>
                    <a:pt x="708" y="478"/>
                    <a:pt x="711" y="475"/>
                    <a:pt x="715" y="473"/>
                  </a:cubicBezTo>
                  <a:cubicBezTo>
                    <a:pt x="719" y="470"/>
                    <a:pt x="723" y="468"/>
                    <a:pt x="726" y="465"/>
                  </a:cubicBezTo>
                  <a:cubicBezTo>
                    <a:pt x="730" y="463"/>
                    <a:pt x="734" y="461"/>
                    <a:pt x="737" y="458"/>
                  </a:cubicBezTo>
                  <a:cubicBezTo>
                    <a:pt x="749" y="451"/>
                    <a:pt x="761" y="444"/>
                    <a:pt x="774" y="437"/>
                  </a:cubicBezTo>
                  <a:lnTo>
                    <a:pt x="776" y="436"/>
                  </a:lnTo>
                  <a:cubicBezTo>
                    <a:pt x="779" y="434"/>
                    <a:pt x="783" y="433"/>
                    <a:pt x="786" y="431"/>
                  </a:cubicBezTo>
                  <a:cubicBezTo>
                    <a:pt x="791" y="429"/>
                    <a:pt x="797" y="426"/>
                    <a:pt x="802" y="423"/>
                  </a:cubicBezTo>
                  <a:cubicBezTo>
                    <a:pt x="805" y="422"/>
                    <a:pt x="808" y="421"/>
                    <a:pt x="811" y="419"/>
                  </a:cubicBezTo>
                  <a:cubicBezTo>
                    <a:pt x="824" y="414"/>
                    <a:pt x="837" y="409"/>
                    <a:pt x="850" y="404"/>
                  </a:cubicBezTo>
                  <a:cubicBezTo>
                    <a:pt x="859" y="401"/>
                    <a:pt x="867" y="398"/>
                    <a:pt x="876" y="395"/>
                  </a:cubicBezTo>
                  <a:cubicBezTo>
                    <a:pt x="881" y="394"/>
                    <a:pt x="885" y="392"/>
                    <a:pt x="890" y="391"/>
                  </a:cubicBezTo>
                  <a:cubicBezTo>
                    <a:pt x="898" y="389"/>
                    <a:pt x="907" y="386"/>
                    <a:pt x="915" y="384"/>
                  </a:cubicBezTo>
                  <a:cubicBezTo>
                    <a:pt x="920" y="383"/>
                    <a:pt x="926" y="382"/>
                    <a:pt x="931" y="381"/>
                  </a:cubicBezTo>
                  <a:cubicBezTo>
                    <a:pt x="936" y="380"/>
                    <a:pt x="940" y="379"/>
                    <a:pt x="945" y="378"/>
                  </a:cubicBezTo>
                  <a:cubicBezTo>
                    <a:pt x="950" y="377"/>
                    <a:pt x="954" y="376"/>
                    <a:pt x="959" y="376"/>
                  </a:cubicBezTo>
                  <a:cubicBezTo>
                    <a:pt x="964" y="375"/>
                    <a:pt x="968" y="374"/>
                    <a:pt x="973" y="374"/>
                  </a:cubicBezTo>
                  <a:cubicBezTo>
                    <a:pt x="978" y="373"/>
                    <a:pt x="983" y="372"/>
                    <a:pt x="988" y="372"/>
                  </a:cubicBezTo>
                  <a:lnTo>
                    <a:pt x="921" y="305"/>
                  </a:ln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85">
              <a:extLst>
                <a:ext uri="{FF2B5EF4-FFF2-40B4-BE49-F238E27FC236}">
                  <a16:creationId xmlns:a16="http://schemas.microsoft.com/office/drawing/2014/main" id="{8D7A69E6-4DF4-2630-5D97-FC4B5B13FA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07100" y="3590925"/>
              <a:ext cx="517525" cy="450850"/>
            </a:xfrm>
            <a:custGeom>
              <a:avLst/>
              <a:gdLst>
                <a:gd name="T0" fmla="*/ 727 w 1144"/>
                <a:gd name="T1" fmla="*/ 327 h 987"/>
                <a:gd name="T2" fmla="*/ 794 w 1144"/>
                <a:gd name="T3" fmla="*/ 212 h 987"/>
                <a:gd name="T4" fmla="*/ 870 w 1144"/>
                <a:gd name="T5" fmla="*/ 333 h 987"/>
                <a:gd name="T6" fmla="*/ 573 w 1144"/>
                <a:gd name="T7" fmla="*/ 630 h 987"/>
                <a:gd name="T8" fmla="*/ 452 w 1144"/>
                <a:gd name="T9" fmla="*/ 554 h 987"/>
                <a:gd name="T10" fmla="*/ 568 w 1144"/>
                <a:gd name="T11" fmla="*/ 487 h 987"/>
                <a:gd name="T12" fmla="*/ 603 w 1144"/>
                <a:gd name="T13" fmla="*/ 519 h 987"/>
                <a:gd name="T14" fmla="*/ 1045 w 1144"/>
                <a:gd name="T15" fmla="*/ 625 h 987"/>
                <a:gd name="T16" fmla="*/ 993 w 1144"/>
                <a:gd name="T17" fmla="*/ 328 h 987"/>
                <a:gd name="T18" fmla="*/ 840 w 1144"/>
                <a:gd name="T19" fmla="*/ 68 h 987"/>
                <a:gd name="T20" fmla="*/ 773 w 1144"/>
                <a:gd name="T21" fmla="*/ 0 h 987"/>
                <a:gd name="T22" fmla="*/ 768 w 1144"/>
                <a:gd name="T23" fmla="*/ 30 h 987"/>
                <a:gd name="T24" fmla="*/ 757 w 1144"/>
                <a:gd name="T25" fmla="*/ 85 h 987"/>
                <a:gd name="T26" fmla="*/ 749 w 1144"/>
                <a:gd name="T27" fmla="*/ 110 h 987"/>
                <a:gd name="T28" fmla="*/ 731 w 1144"/>
                <a:gd name="T29" fmla="*/ 162 h 987"/>
                <a:gd name="T30" fmla="*/ 710 w 1144"/>
                <a:gd name="T31" fmla="*/ 206 h 987"/>
                <a:gd name="T32" fmla="*/ 685 w 1144"/>
                <a:gd name="T33" fmla="*/ 251 h 987"/>
                <a:gd name="T34" fmla="*/ 669 w 1144"/>
                <a:gd name="T35" fmla="*/ 275 h 987"/>
                <a:gd name="T36" fmla="*/ 637 w 1144"/>
                <a:gd name="T37" fmla="*/ 318 h 987"/>
                <a:gd name="T38" fmla="*/ 605 w 1144"/>
                <a:gd name="T39" fmla="*/ 353 h 987"/>
                <a:gd name="T40" fmla="*/ 580 w 1144"/>
                <a:gd name="T41" fmla="*/ 377 h 987"/>
                <a:gd name="T42" fmla="*/ 542 w 1144"/>
                <a:gd name="T43" fmla="*/ 410 h 987"/>
                <a:gd name="T44" fmla="*/ 519 w 1144"/>
                <a:gd name="T45" fmla="*/ 427 h 987"/>
                <a:gd name="T46" fmla="*/ 470 w 1144"/>
                <a:gd name="T47" fmla="*/ 458 h 987"/>
                <a:gd name="T48" fmla="*/ 425 w 1144"/>
                <a:gd name="T49" fmla="*/ 482 h 987"/>
                <a:gd name="T50" fmla="*/ 398 w 1144"/>
                <a:gd name="T51" fmla="*/ 493 h 987"/>
                <a:gd name="T52" fmla="*/ 378 w 1144"/>
                <a:gd name="T53" fmla="*/ 501 h 987"/>
                <a:gd name="T54" fmla="*/ 357 w 1144"/>
                <a:gd name="T55" fmla="*/ 509 h 987"/>
                <a:gd name="T56" fmla="*/ 334 w 1144"/>
                <a:gd name="T57" fmla="*/ 515 h 987"/>
                <a:gd name="T58" fmla="*/ 304 w 1144"/>
                <a:gd name="T59" fmla="*/ 523 h 987"/>
                <a:gd name="T60" fmla="*/ 292 w 1144"/>
                <a:gd name="T61" fmla="*/ 526 h 987"/>
                <a:gd name="T62" fmla="*/ 244 w 1144"/>
                <a:gd name="T63" fmla="*/ 534 h 987"/>
                <a:gd name="T64" fmla="*/ 211 w 1144"/>
                <a:gd name="T65" fmla="*/ 537 h 987"/>
                <a:gd name="T66" fmla="*/ 168 w 1144"/>
                <a:gd name="T67" fmla="*/ 539 h 987"/>
                <a:gd name="T68" fmla="*/ 143 w 1144"/>
                <a:gd name="T69" fmla="*/ 538 h 987"/>
                <a:gd name="T70" fmla="*/ 103 w 1144"/>
                <a:gd name="T71" fmla="*/ 535 h 987"/>
                <a:gd name="T72" fmla="*/ 40 w 1144"/>
                <a:gd name="T73" fmla="*/ 525 h 987"/>
                <a:gd name="T74" fmla="*/ 0 w 1144"/>
                <a:gd name="T75" fmla="*/ 516 h 987"/>
                <a:gd name="T76" fmla="*/ 99 w 1144"/>
                <a:gd name="T77" fmla="*/ 615 h 987"/>
                <a:gd name="T78" fmla="*/ 167 w 1144"/>
                <a:gd name="T79" fmla="*/ 577 h 987"/>
                <a:gd name="T80" fmla="*/ 248 w 1144"/>
                <a:gd name="T81" fmla="*/ 658 h 987"/>
                <a:gd name="T82" fmla="*/ 471 w 1144"/>
                <a:gd name="T83" fmla="*/ 987 h 987"/>
                <a:gd name="T84" fmla="*/ 565 w 1144"/>
                <a:gd name="T85" fmla="*/ 755 h 987"/>
                <a:gd name="T86" fmla="*/ 861 w 1144"/>
                <a:gd name="T87" fmla="*/ 806 h 987"/>
                <a:gd name="T88" fmla="*/ 856 w 1144"/>
                <a:gd name="T89" fmla="*/ 544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4" h="987">
                  <a:moveTo>
                    <a:pt x="760" y="362"/>
                  </a:moveTo>
                  <a:cubicBezTo>
                    <a:pt x="745" y="354"/>
                    <a:pt x="734" y="341"/>
                    <a:pt x="727" y="327"/>
                  </a:cubicBezTo>
                  <a:cubicBezTo>
                    <a:pt x="716" y="304"/>
                    <a:pt x="717" y="276"/>
                    <a:pt x="730" y="252"/>
                  </a:cubicBezTo>
                  <a:cubicBezTo>
                    <a:pt x="744" y="228"/>
                    <a:pt x="768" y="214"/>
                    <a:pt x="794" y="212"/>
                  </a:cubicBezTo>
                  <a:cubicBezTo>
                    <a:pt x="809" y="211"/>
                    <a:pt x="826" y="214"/>
                    <a:pt x="841" y="222"/>
                  </a:cubicBezTo>
                  <a:cubicBezTo>
                    <a:pt x="879" y="245"/>
                    <a:pt x="892" y="294"/>
                    <a:pt x="870" y="333"/>
                  </a:cubicBezTo>
                  <a:cubicBezTo>
                    <a:pt x="848" y="371"/>
                    <a:pt x="798" y="384"/>
                    <a:pt x="760" y="362"/>
                  </a:cubicBezTo>
                  <a:close/>
                  <a:moveTo>
                    <a:pt x="573" y="630"/>
                  </a:moveTo>
                  <a:cubicBezTo>
                    <a:pt x="534" y="652"/>
                    <a:pt x="485" y="639"/>
                    <a:pt x="463" y="600"/>
                  </a:cubicBezTo>
                  <a:cubicBezTo>
                    <a:pt x="454" y="585"/>
                    <a:pt x="451" y="569"/>
                    <a:pt x="452" y="554"/>
                  </a:cubicBezTo>
                  <a:cubicBezTo>
                    <a:pt x="454" y="528"/>
                    <a:pt x="468" y="504"/>
                    <a:pt x="492" y="490"/>
                  </a:cubicBezTo>
                  <a:cubicBezTo>
                    <a:pt x="516" y="476"/>
                    <a:pt x="544" y="476"/>
                    <a:pt x="568" y="487"/>
                  </a:cubicBezTo>
                  <a:lnTo>
                    <a:pt x="568" y="487"/>
                  </a:lnTo>
                  <a:cubicBezTo>
                    <a:pt x="582" y="494"/>
                    <a:pt x="594" y="505"/>
                    <a:pt x="603" y="519"/>
                  </a:cubicBezTo>
                  <a:cubicBezTo>
                    <a:pt x="625" y="558"/>
                    <a:pt x="612" y="607"/>
                    <a:pt x="573" y="630"/>
                  </a:cubicBezTo>
                  <a:close/>
                  <a:moveTo>
                    <a:pt x="1045" y="625"/>
                  </a:moveTo>
                  <a:cubicBezTo>
                    <a:pt x="1084" y="577"/>
                    <a:pt x="1115" y="530"/>
                    <a:pt x="1144" y="478"/>
                  </a:cubicBezTo>
                  <a:cubicBezTo>
                    <a:pt x="1097" y="424"/>
                    <a:pt x="1046" y="376"/>
                    <a:pt x="993" y="328"/>
                  </a:cubicBezTo>
                  <a:cubicBezTo>
                    <a:pt x="1004" y="303"/>
                    <a:pt x="1014" y="277"/>
                    <a:pt x="1025" y="252"/>
                  </a:cubicBezTo>
                  <a:lnTo>
                    <a:pt x="840" y="68"/>
                  </a:lnTo>
                  <a:lnTo>
                    <a:pt x="840" y="67"/>
                  </a:lnTo>
                  <a:lnTo>
                    <a:pt x="773" y="0"/>
                  </a:lnTo>
                  <a:cubicBezTo>
                    <a:pt x="772" y="7"/>
                    <a:pt x="771" y="15"/>
                    <a:pt x="770" y="22"/>
                  </a:cubicBezTo>
                  <a:cubicBezTo>
                    <a:pt x="769" y="25"/>
                    <a:pt x="769" y="28"/>
                    <a:pt x="768" y="30"/>
                  </a:cubicBezTo>
                  <a:cubicBezTo>
                    <a:pt x="766" y="45"/>
                    <a:pt x="763" y="60"/>
                    <a:pt x="759" y="74"/>
                  </a:cubicBezTo>
                  <a:cubicBezTo>
                    <a:pt x="758" y="78"/>
                    <a:pt x="758" y="81"/>
                    <a:pt x="757" y="85"/>
                  </a:cubicBezTo>
                  <a:cubicBezTo>
                    <a:pt x="755" y="91"/>
                    <a:pt x="753" y="97"/>
                    <a:pt x="752" y="103"/>
                  </a:cubicBezTo>
                  <a:cubicBezTo>
                    <a:pt x="751" y="105"/>
                    <a:pt x="750" y="108"/>
                    <a:pt x="749" y="110"/>
                  </a:cubicBezTo>
                  <a:cubicBezTo>
                    <a:pt x="745" y="125"/>
                    <a:pt x="740" y="139"/>
                    <a:pt x="734" y="153"/>
                  </a:cubicBezTo>
                  <a:cubicBezTo>
                    <a:pt x="733" y="156"/>
                    <a:pt x="732" y="159"/>
                    <a:pt x="731" y="162"/>
                  </a:cubicBezTo>
                  <a:cubicBezTo>
                    <a:pt x="727" y="171"/>
                    <a:pt x="723" y="180"/>
                    <a:pt x="719" y="188"/>
                  </a:cubicBezTo>
                  <a:cubicBezTo>
                    <a:pt x="716" y="194"/>
                    <a:pt x="713" y="200"/>
                    <a:pt x="710" y="206"/>
                  </a:cubicBezTo>
                  <a:lnTo>
                    <a:pt x="710" y="207"/>
                  </a:lnTo>
                  <a:cubicBezTo>
                    <a:pt x="702" y="222"/>
                    <a:pt x="693" y="237"/>
                    <a:pt x="685" y="251"/>
                  </a:cubicBezTo>
                  <a:lnTo>
                    <a:pt x="684" y="253"/>
                  </a:lnTo>
                  <a:cubicBezTo>
                    <a:pt x="679" y="260"/>
                    <a:pt x="674" y="268"/>
                    <a:pt x="669" y="275"/>
                  </a:cubicBezTo>
                  <a:cubicBezTo>
                    <a:pt x="663" y="283"/>
                    <a:pt x="658" y="291"/>
                    <a:pt x="652" y="299"/>
                  </a:cubicBezTo>
                  <a:cubicBezTo>
                    <a:pt x="647" y="305"/>
                    <a:pt x="642" y="311"/>
                    <a:pt x="637" y="318"/>
                  </a:cubicBezTo>
                  <a:cubicBezTo>
                    <a:pt x="631" y="324"/>
                    <a:pt x="625" y="331"/>
                    <a:pt x="619" y="338"/>
                  </a:cubicBezTo>
                  <a:cubicBezTo>
                    <a:pt x="615" y="343"/>
                    <a:pt x="610" y="348"/>
                    <a:pt x="605" y="353"/>
                  </a:cubicBezTo>
                  <a:cubicBezTo>
                    <a:pt x="599" y="360"/>
                    <a:pt x="592" y="366"/>
                    <a:pt x="585" y="373"/>
                  </a:cubicBezTo>
                  <a:cubicBezTo>
                    <a:pt x="583" y="374"/>
                    <a:pt x="582" y="376"/>
                    <a:pt x="580" y="377"/>
                  </a:cubicBezTo>
                  <a:cubicBezTo>
                    <a:pt x="573" y="384"/>
                    <a:pt x="565" y="391"/>
                    <a:pt x="557" y="398"/>
                  </a:cubicBezTo>
                  <a:cubicBezTo>
                    <a:pt x="552" y="402"/>
                    <a:pt x="547" y="406"/>
                    <a:pt x="542" y="410"/>
                  </a:cubicBezTo>
                  <a:cubicBezTo>
                    <a:pt x="538" y="413"/>
                    <a:pt x="533" y="416"/>
                    <a:pt x="529" y="419"/>
                  </a:cubicBezTo>
                  <a:cubicBezTo>
                    <a:pt x="526" y="422"/>
                    <a:pt x="522" y="425"/>
                    <a:pt x="519" y="427"/>
                  </a:cubicBezTo>
                  <a:cubicBezTo>
                    <a:pt x="507" y="436"/>
                    <a:pt x="494" y="444"/>
                    <a:pt x="481" y="452"/>
                  </a:cubicBezTo>
                  <a:cubicBezTo>
                    <a:pt x="478" y="454"/>
                    <a:pt x="474" y="456"/>
                    <a:pt x="470" y="458"/>
                  </a:cubicBezTo>
                  <a:cubicBezTo>
                    <a:pt x="458" y="465"/>
                    <a:pt x="446" y="471"/>
                    <a:pt x="434" y="477"/>
                  </a:cubicBezTo>
                  <a:cubicBezTo>
                    <a:pt x="431" y="479"/>
                    <a:pt x="428" y="480"/>
                    <a:pt x="425" y="482"/>
                  </a:cubicBezTo>
                  <a:cubicBezTo>
                    <a:pt x="419" y="484"/>
                    <a:pt x="413" y="487"/>
                    <a:pt x="407" y="490"/>
                  </a:cubicBezTo>
                  <a:cubicBezTo>
                    <a:pt x="404" y="491"/>
                    <a:pt x="401" y="492"/>
                    <a:pt x="398" y="493"/>
                  </a:cubicBezTo>
                  <a:lnTo>
                    <a:pt x="398" y="494"/>
                  </a:lnTo>
                  <a:cubicBezTo>
                    <a:pt x="391" y="496"/>
                    <a:pt x="385" y="499"/>
                    <a:pt x="378" y="501"/>
                  </a:cubicBezTo>
                  <a:cubicBezTo>
                    <a:pt x="371" y="504"/>
                    <a:pt x="364" y="506"/>
                    <a:pt x="358" y="508"/>
                  </a:cubicBezTo>
                  <a:lnTo>
                    <a:pt x="357" y="509"/>
                  </a:lnTo>
                  <a:cubicBezTo>
                    <a:pt x="353" y="510"/>
                    <a:pt x="349" y="511"/>
                    <a:pt x="345" y="512"/>
                  </a:cubicBezTo>
                  <a:cubicBezTo>
                    <a:pt x="341" y="514"/>
                    <a:pt x="338" y="515"/>
                    <a:pt x="334" y="515"/>
                  </a:cubicBezTo>
                  <a:cubicBezTo>
                    <a:pt x="331" y="517"/>
                    <a:pt x="327" y="518"/>
                    <a:pt x="323" y="519"/>
                  </a:cubicBezTo>
                  <a:cubicBezTo>
                    <a:pt x="317" y="520"/>
                    <a:pt x="311" y="522"/>
                    <a:pt x="304" y="523"/>
                  </a:cubicBezTo>
                  <a:cubicBezTo>
                    <a:pt x="301" y="524"/>
                    <a:pt x="297" y="525"/>
                    <a:pt x="294" y="525"/>
                  </a:cubicBezTo>
                  <a:lnTo>
                    <a:pt x="292" y="526"/>
                  </a:lnTo>
                  <a:cubicBezTo>
                    <a:pt x="285" y="527"/>
                    <a:pt x="279" y="529"/>
                    <a:pt x="272" y="530"/>
                  </a:cubicBezTo>
                  <a:cubicBezTo>
                    <a:pt x="263" y="531"/>
                    <a:pt x="254" y="533"/>
                    <a:pt x="244" y="534"/>
                  </a:cubicBezTo>
                  <a:cubicBezTo>
                    <a:pt x="236" y="535"/>
                    <a:pt x="227" y="536"/>
                    <a:pt x="218" y="537"/>
                  </a:cubicBezTo>
                  <a:cubicBezTo>
                    <a:pt x="216" y="537"/>
                    <a:pt x="214" y="537"/>
                    <a:pt x="211" y="537"/>
                  </a:cubicBezTo>
                  <a:cubicBezTo>
                    <a:pt x="203" y="538"/>
                    <a:pt x="196" y="538"/>
                    <a:pt x="188" y="538"/>
                  </a:cubicBezTo>
                  <a:cubicBezTo>
                    <a:pt x="181" y="539"/>
                    <a:pt x="175" y="539"/>
                    <a:pt x="168" y="539"/>
                  </a:cubicBezTo>
                  <a:cubicBezTo>
                    <a:pt x="162" y="539"/>
                    <a:pt x="155" y="539"/>
                    <a:pt x="148" y="538"/>
                  </a:cubicBezTo>
                  <a:cubicBezTo>
                    <a:pt x="146" y="538"/>
                    <a:pt x="145" y="538"/>
                    <a:pt x="143" y="538"/>
                  </a:cubicBezTo>
                  <a:cubicBezTo>
                    <a:pt x="137" y="538"/>
                    <a:pt x="131" y="538"/>
                    <a:pt x="125" y="537"/>
                  </a:cubicBezTo>
                  <a:cubicBezTo>
                    <a:pt x="118" y="537"/>
                    <a:pt x="110" y="536"/>
                    <a:pt x="103" y="535"/>
                  </a:cubicBezTo>
                  <a:cubicBezTo>
                    <a:pt x="96" y="535"/>
                    <a:pt x="89" y="534"/>
                    <a:pt x="82" y="533"/>
                  </a:cubicBezTo>
                  <a:cubicBezTo>
                    <a:pt x="68" y="531"/>
                    <a:pt x="54" y="528"/>
                    <a:pt x="40" y="525"/>
                  </a:cubicBezTo>
                  <a:cubicBezTo>
                    <a:pt x="27" y="522"/>
                    <a:pt x="13" y="519"/>
                    <a:pt x="0" y="515"/>
                  </a:cubicBezTo>
                  <a:lnTo>
                    <a:pt x="0" y="516"/>
                  </a:lnTo>
                  <a:lnTo>
                    <a:pt x="95" y="611"/>
                  </a:lnTo>
                  <a:lnTo>
                    <a:pt x="99" y="615"/>
                  </a:lnTo>
                  <a:lnTo>
                    <a:pt x="101" y="611"/>
                  </a:lnTo>
                  <a:cubicBezTo>
                    <a:pt x="116" y="591"/>
                    <a:pt x="140" y="577"/>
                    <a:pt x="167" y="577"/>
                  </a:cubicBezTo>
                  <a:cubicBezTo>
                    <a:pt x="195" y="577"/>
                    <a:pt x="219" y="591"/>
                    <a:pt x="233" y="612"/>
                  </a:cubicBezTo>
                  <a:cubicBezTo>
                    <a:pt x="243" y="625"/>
                    <a:pt x="248" y="641"/>
                    <a:pt x="248" y="658"/>
                  </a:cubicBezTo>
                  <a:cubicBezTo>
                    <a:pt x="248" y="686"/>
                    <a:pt x="233" y="712"/>
                    <a:pt x="210" y="726"/>
                  </a:cubicBezTo>
                  <a:lnTo>
                    <a:pt x="471" y="987"/>
                  </a:lnTo>
                  <a:lnTo>
                    <a:pt x="471" y="795"/>
                  </a:lnTo>
                  <a:cubicBezTo>
                    <a:pt x="501" y="783"/>
                    <a:pt x="532" y="770"/>
                    <a:pt x="565" y="755"/>
                  </a:cubicBezTo>
                  <a:cubicBezTo>
                    <a:pt x="613" y="807"/>
                    <a:pt x="661" y="859"/>
                    <a:pt x="714" y="906"/>
                  </a:cubicBezTo>
                  <a:cubicBezTo>
                    <a:pt x="755" y="886"/>
                    <a:pt x="833" y="834"/>
                    <a:pt x="861" y="806"/>
                  </a:cubicBezTo>
                  <a:cubicBezTo>
                    <a:pt x="835" y="743"/>
                    <a:pt x="807" y="679"/>
                    <a:pt x="781" y="618"/>
                  </a:cubicBezTo>
                  <a:lnTo>
                    <a:pt x="856" y="544"/>
                  </a:lnTo>
                  <a:cubicBezTo>
                    <a:pt x="915" y="569"/>
                    <a:pt x="980" y="597"/>
                    <a:pt x="1045" y="625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86">
              <a:extLst>
                <a:ext uri="{FF2B5EF4-FFF2-40B4-BE49-F238E27FC236}">
                  <a16:creationId xmlns:a16="http://schemas.microsoft.com/office/drawing/2014/main" id="{96927504-15E8-52F9-ABA2-0FCDD3399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132513" y="3354388"/>
              <a:ext cx="404813" cy="409575"/>
            </a:xfrm>
            <a:prstGeom prst="ellipse">
              <a:avLst/>
            </a:prstGeom>
            <a:solidFill>
              <a:srgbClr val="3C38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87">
              <a:extLst>
                <a:ext uri="{FF2B5EF4-FFF2-40B4-BE49-F238E27FC236}">
                  <a16:creationId xmlns:a16="http://schemas.microsoft.com/office/drawing/2014/main" id="{0725FE23-9057-A365-3B9A-444BA0F0C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967413" y="3187700"/>
              <a:ext cx="73025" cy="73025"/>
            </a:xfrm>
            <a:prstGeom prst="ellipse">
              <a:avLst/>
            </a:prstGeom>
            <a:solidFill>
              <a:srgbClr val="757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88">
              <a:extLst>
                <a:ext uri="{FF2B5EF4-FFF2-40B4-BE49-F238E27FC236}">
                  <a16:creationId xmlns:a16="http://schemas.microsoft.com/office/drawing/2014/main" id="{E3760D1F-9582-AE2A-9467-6AFE24CC7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4088" y="2105025"/>
              <a:ext cx="1511300" cy="763588"/>
            </a:xfrm>
            <a:custGeom>
              <a:avLst/>
              <a:gdLst>
                <a:gd name="T0" fmla="*/ 3270 w 3346"/>
                <a:gd name="T1" fmla="*/ 1441 h 1674"/>
                <a:gd name="T2" fmla="*/ 3205 w 3346"/>
                <a:gd name="T3" fmla="*/ 1423 h 1674"/>
                <a:gd name="T4" fmla="*/ 3143 w 3346"/>
                <a:gd name="T5" fmla="*/ 1509 h 1674"/>
                <a:gd name="T6" fmla="*/ 3040 w 3346"/>
                <a:gd name="T7" fmla="*/ 1541 h 1674"/>
                <a:gd name="T8" fmla="*/ 2997 w 3346"/>
                <a:gd name="T9" fmla="*/ 1535 h 1674"/>
                <a:gd name="T10" fmla="*/ 2828 w 3346"/>
                <a:gd name="T11" fmla="*/ 1489 h 1674"/>
                <a:gd name="T12" fmla="*/ 1423 w 3346"/>
                <a:gd name="T13" fmla="*/ 1112 h 1674"/>
                <a:gd name="T14" fmla="*/ 708 w 3346"/>
                <a:gd name="T15" fmla="*/ 918 h 1674"/>
                <a:gd name="T16" fmla="*/ 462 w 3346"/>
                <a:gd name="T17" fmla="*/ 849 h 1674"/>
                <a:gd name="T18" fmla="*/ 382 w 3346"/>
                <a:gd name="T19" fmla="*/ 826 h 1674"/>
                <a:gd name="T20" fmla="*/ 337 w 3346"/>
                <a:gd name="T21" fmla="*/ 811 h 1674"/>
                <a:gd name="T22" fmla="*/ 260 w 3346"/>
                <a:gd name="T23" fmla="*/ 765 h 1674"/>
                <a:gd name="T24" fmla="*/ 168 w 3346"/>
                <a:gd name="T25" fmla="*/ 638 h 1674"/>
                <a:gd name="T26" fmla="*/ 133 w 3346"/>
                <a:gd name="T27" fmla="*/ 472 h 1674"/>
                <a:gd name="T28" fmla="*/ 159 w 3346"/>
                <a:gd name="T29" fmla="*/ 335 h 1674"/>
                <a:gd name="T30" fmla="*/ 159 w 3346"/>
                <a:gd name="T31" fmla="*/ 335 h 1674"/>
                <a:gd name="T32" fmla="*/ 216 w 3346"/>
                <a:gd name="T33" fmla="*/ 246 h 1674"/>
                <a:gd name="T34" fmla="*/ 345 w 3346"/>
                <a:gd name="T35" fmla="*/ 162 h 1674"/>
                <a:gd name="T36" fmla="*/ 496 w 3346"/>
                <a:gd name="T37" fmla="*/ 134 h 1674"/>
                <a:gd name="T38" fmla="*/ 610 w 3346"/>
                <a:gd name="T39" fmla="*/ 153 h 1674"/>
                <a:gd name="T40" fmla="*/ 662 w 3346"/>
                <a:gd name="T41" fmla="*/ 174 h 1674"/>
                <a:gd name="T42" fmla="*/ 1181 w 3346"/>
                <a:gd name="T43" fmla="*/ 392 h 1674"/>
                <a:gd name="T44" fmla="*/ 2375 w 3346"/>
                <a:gd name="T45" fmla="*/ 900 h 1674"/>
                <a:gd name="T46" fmla="*/ 2877 w 3346"/>
                <a:gd name="T47" fmla="*/ 1115 h 1674"/>
                <a:gd name="T48" fmla="*/ 3143 w 3346"/>
                <a:gd name="T49" fmla="*/ 1229 h 1674"/>
                <a:gd name="T50" fmla="*/ 3173 w 3346"/>
                <a:gd name="T51" fmla="*/ 1250 h 1674"/>
                <a:gd name="T52" fmla="*/ 3203 w 3346"/>
                <a:gd name="T53" fmla="*/ 1300 h 1674"/>
                <a:gd name="T54" fmla="*/ 3213 w 3346"/>
                <a:gd name="T55" fmla="*/ 1366 h 1674"/>
                <a:gd name="T56" fmla="*/ 3205 w 3346"/>
                <a:gd name="T57" fmla="*/ 1423 h 1674"/>
                <a:gd name="T58" fmla="*/ 3205 w 3346"/>
                <a:gd name="T59" fmla="*/ 1423 h 1674"/>
                <a:gd name="T60" fmla="*/ 3270 w 3346"/>
                <a:gd name="T61" fmla="*/ 1441 h 1674"/>
                <a:gd name="T62" fmla="*/ 3334 w 3346"/>
                <a:gd name="T63" fmla="*/ 1458 h 1674"/>
                <a:gd name="T64" fmla="*/ 3346 w 3346"/>
                <a:gd name="T65" fmla="*/ 1366 h 1674"/>
                <a:gd name="T66" fmla="*/ 3314 w 3346"/>
                <a:gd name="T67" fmla="*/ 1222 h 1674"/>
                <a:gd name="T68" fmla="*/ 3268 w 3346"/>
                <a:gd name="T69" fmla="*/ 1156 h 1674"/>
                <a:gd name="T70" fmla="*/ 3197 w 3346"/>
                <a:gd name="T71" fmla="*/ 1107 h 1674"/>
                <a:gd name="T72" fmla="*/ 2739 w 3346"/>
                <a:gd name="T73" fmla="*/ 911 h 1674"/>
                <a:gd name="T74" fmla="*/ 1482 w 3346"/>
                <a:gd name="T75" fmla="*/ 375 h 1674"/>
                <a:gd name="T76" fmla="*/ 938 w 3346"/>
                <a:gd name="T77" fmla="*/ 145 h 1674"/>
                <a:gd name="T78" fmla="*/ 755 w 3346"/>
                <a:gd name="T79" fmla="*/ 68 h 1674"/>
                <a:gd name="T80" fmla="*/ 658 w 3346"/>
                <a:gd name="T81" fmla="*/ 28 h 1674"/>
                <a:gd name="T82" fmla="*/ 496 w 3346"/>
                <a:gd name="T83" fmla="*/ 0 h 1674"/>
                <a:gd name="T84" fmla="*/ 233 w 3346"/>
                <a:gd name="T85" fmla="*/ 67 h 1674"/>
                <a:gd name="T86" fmla="*/ 119 w 3346"/>
                <a:gd name="T87" fmla="*/ 155 h 1674"/>
                <a:gd name="T88" fmla="*/ 36 w 3346"/>
                <a:gd name="T89" fmla="*/ 285 h 1674"/>
                <a:gd name="T90" fmla="*/ 36 w 3346"/>
                <a:gd name="T91" fmla="*/ 285 h 1674"/>
                <a:gd name="T92" fmla="*/ 0 w 3346"/>
                <a:gd name="T93" fmla="*/ 472 h 1674"/>
                <a:gd name="T94" fmla="*/ 81 w 3346"/>
                <a:gd name="T95" fmla="*/ 756 h 1674"/>
                <a:gd name="T96" fmla="*/ 172 w 3346"/>
                <a:gd name="T97" fmla="*/ 865 h 1674"/>
                <a:gd name="T98" fmla="*/ 291 w 3346"/>
                <a:gd name="T99" fmla="*/ 937 h 1674"/>
                <a:gd name="T100" fmla="*/ 353 w 3346"/>
                <a:gd name="T101" fmla="*/ 956 h 1674"/>
                <a:gd name="T102" fmla="*/ 903 w 3346"/>
                <a:gd name="T103" fmla="*/ 1110 h 1674"/>
                <a:gd name="T104" fmla="*/ 2155 w 3346"/>
                <a:gd name="T105" fmla="*/ 1446 h 1674"/>
                <a:gd name="T106" fmla="*/ 2681 w 3346"/>
                <a:gd name="T107" fmla="*/ 1587 h 1674"/>
                <a:gd name="T108" fmla="*/ 2860 w 3346"/>
                <a:gd name="T109" fmla="*/ 1635 h 1674"/>
                <a:gd name="T110" fmla="*/ 2960 w 3346"/>
                <a:gd name="T111" fmla="*/ 1663 h 1674"/>
                <a:gd name="T112" fmla="*/ 3040 w 3346"/>
                <a:gd name="T113" fmla="*/ 1674 h 1674"/>
                <a:gd name="T114" fmla="*/ 3218 w 3346"/>
                <a:gd name="T115" fmla="*/ 1619 h 1674"/>
                <a:gd name="T116" fmla="*/ 3334 w 3346"/>
                <a:gd name="T117" fmla="*/ 1458 h 1674"/>
                <a:gd name="T118" fmla="*/ 3334 w 3346"/>
                <a:gd name="T119" fmla="*/ 1458 h 1674"/>
                <a:gd name="T120" fmla="*/ 3270 w 3346"/>
                <a:gd name="T121" fmla="*/ 1441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46" h="1674">
                  <a:moveTo>
                    <a:pt x="3270" y="1441"/>
                  </a:moveTo>
                  <a:lnTo>
                    <a:pt x="3205" y="1423"/>
                  </a:lnTo>
                  <a:cubicBezTo>
                    <a:pt x="3195" y="1460"/>
                    <a:pt x="3173" y="1488"/>
                    <a:pt x="3143" y="1509"/>
                  </a:cubicBezTo>
                  <a:cubicBezTo>
                    <a:pt x="3113" y="1530"/>
                    <a:pt x="3075" y="1541"/>
                    <a:pt x="3040" y="1541"/>
                  </a:cubicBezTo>
                  <a:cubicBezTo>
                    <a:pt x="3025" y="1541"/>
                    <a:pt x="3010" y="1539"/>
                    <a:pt x="2997" y="1535"/>
                  </a:cubicBezTo>
                  <a:cubicBezTo>
                    <a:pt x="2969" y="1527"/>
                    <a:pt x="2911" y="1511"/>
                    <a:pt x="2828" y="1489"/>
                  </a:cubicBezTo>
                  <a:cubicBezTo>
                    <a:pt x="2538" y="1410"/>
                    <a:pt x="1955" y="1255"/>
                    <a:pt x="1423" y="1112"/>
                  </a:cubicBezTo>
                  <a:cubicBezTo>
                    <a:pt x="1157" y="1041"/>
                    <a:pt x="904" y="972"/>
                    <a:pt x="708" y="918"/>
                  </a:cubicBezTo>
                  <a:cubicBezTo>
                    <a:pt x="610" y="891"/>
                    <a:pt x="526" y="868"/>
                    <a:pt x="462" y="849"/>
                  </a:cubicBezTo>
                  <a:cubicBezTo>
                    <a:pt x="430" y="840"/>
                    <a:pt x="403" y="832"/>
                    <a:pt x="382" y="826"/>
                  </a:cubicBezTo>
                  <a:cubicBezTo>
                    <a:pt x="360" y="819"/>
                    <a:pt x="345" y="814"/>
                    <a:pt x="337" y="811"/>
                  </a:cubicBezTo>
                  <a:cubicBezTo>
                    <a:pt x="310" y="802"/>
                    <a:pt x="284" y="786"/>
                    <a:pt x="260" y="765"/>
                  </a:cubicBezTo>
                  <a:cubicBezTo>
                    <a:pt x="223" y="733"/>
                    <a:pt x="191" y="688"/>
                    <a:pt x="168" y="638"/>
                  </a:cubicBezTo>
                  <a:cubicBezTo>
                    <a:pt x="146" y="587"/>
                    <a:pt x="133" y="530"/>
                    <a:pt x="133" y="472"/>
                  </a:cubicBezTo>
                  <a:cubicBezTo>
                    <a:pt x="133" y="426"/>
                    <a:pt x="141" y="379"/>
                    <a:pt x="159" y="335"/>
                  </a:cubicBezTo>
                  <a:lnTo>
                    <a:pt x="159" y="335"/>
                  </a:lnTo>
                  <a:cubicBezTo>
                    <a:pt x="173" y="301"/>
                    <a:pt x="193" y="271"/>
                    <a:pt x="216" y="246"/>
                  </a:cubicBezTo>
                  <a:cubicBezTo>
                    <a:pt x="251" y="209"/>
                    <a:pt x="296" y="180"/>
                    <a:pt x="345" y="162"/>
                  </a:cubicBezTo>
                  <a:cubicBezTo>
                    <a:pt x="394" y="143"/>
                    <a:pt x="447" y="134"/>
                    <a:pt x="496" y="134"/>
                  </a:cubicBezTo>
                  <a:cubicBezTo>
                    <a:pt x="539" y="134"/>
                    <a:pt x="579" y="141"/>
                    <a:pt x="610" y="153"/>
                  </a:cubicBezTo>
                  <a:cubicBezTo>
                    <a:pt x="619" y="156"/>
                    <a:pt x="637" y="164"/>
                    <a:pt x="662" y="174"/>
                  </a:cubicBezTo>
                  <a:cubicBezTo>
                    <a:pt x="755" y="212"/>
                    <a:pt x="945" y="292"/>
                    <a:pt x="1181" y="392"/>
                  </a:cubicBezTo>
                  <a:cubicBezTo>
                    <a:pt x="1535" y="542"/>
                    <a:pt x="1990" y="736"/>
                    <a:pt x="2375" y="900"/>
                  </a:cubicBezTo>
                  <a:cubicBezTo>
                    <a:pt x="2567" y="982"/>
                    <a:pt x="2742" y="1057"/>
                    <a:pt x="2877" y="1115"/>
                  </a:cubicBezTo>
                  <a:cubicBezTo>
                    <a:pt x="3012" y="1173"/>
                    <a:pt x="3108" y="1214"/>
                    <a:pt x="3143" y="1229"/>
                  </a:cubicBezTo>
                  <a:cubicBezTo>
                    <a:pt x="3155" y="1235"/>
                    <a:pt x="3165" y="1242"/>
                    <a:pt x="3173" y="1250"/>
                  </a:cubicBezTo>
                  <a:cubicBezTo>
                    <a:pt x="3186" y="1263"/>
                    <a:pt x="3196" y="1280"/>
                    <a:pt x="3203" y="1300"/>
                  </a:cubicBezTo>
                  <a:cubicBezTo>
                    <a:pt x="3209" y="1320"/>
                    <a:pt x="3213" y="1344"/>
                    <a:pt x="3213" y="1366"/>
                  </a:cubicBezTo>
                  <a:cubicBezTo>
                    <a:pt x="3213" y="1387"/>
                    <a:pt x="3210" y="1407"/>
                    <a:pt x="3205" y="1423"/>
                  </a:cubicBezTo>
                  <a:lnTo>
                    <a:pt x="3205" y="1423"/>
                  </a:lnTo>
                  <a:lnTo>
                    <a:pt x="3270" y="1441"/>
                  </a:lnTo>
                  <a:lnTo>
                    <a:pt x="3334" y="1458"/>
                  </a:lnTo>
                  <a:cubicBezTo>
                    <a:pt x="3342" y="1430"/>
                    <a:pt x="3346" y="1399"/>
                    <a:pt x="3346" y="1366"/>
                  </a:cubicBezTo>
                  <a:cubicBezTo>
                    <a:pt x="3346" y="1319"/>
                    <a:pt x="3337" y="1269"/>
                    <a:pt x="3314" y="1222"/>
                  </a:cubicBezTo>
                  <a:cubicBezTo>
                    <a:pt x="3303" y="1199"/>
                    <a:pt x="3288" y="1176"/>
                    <a:pt x="3268" y="1156"/>
                  </a:cubicBezTo>
                  <a:cubicBezTo>
                    <a:pt x="3248" y="1136"/>
                    <a:pt x="3224" y="1119"/>
                    <a:pt x="3197" y="1107"/>
                  </a:cubicBezTo>
                  <a:cubicBezTo>
                    <a:pt x="3146" y="1085"/>
                    <a:pt x="2973" y="1011"/>
                    <a:pt x="2739" y="911"/>
                  </a:cubicBezTo>
                  <a:cubicBezTo>
                    <a:pt x="2387" y="760"/>
                    <a:pt x="1899" y="552"/>
                    <a:pt x="1482" y="375"/>
                  </a:cubicBezTo>
                  <a:cubicBezTo>
                    <a:pt x="1274" y="287"/>
                    <a:pt x="1084" y="206"/>
                    <a:pt x="938" y="145"/>
                  </a:cubicBezTo>
                  <a:cubicBezTo>
                    <a:pt x="865" y="114"/>
                    <a:pt x="803" y="88"/>
                    <a:pt x="755" y="68"/>
                  </a:cubicBezTo>
                  <a:cubicBezTo>
                    <a:pt x="708" y="48"/>
                    <a:pt x="675" y="35"/>
                    <a:pt x="658" y="28"/>
                  </a:cubicBezTo>
                  <a:cubicBezTo>
                    <a:pt x="608" y="9"/>
                    <a:pt x="553" y="0"/>
                    <a:pt x="496" y="0"/>
                  </a:cubicBezTo>
                  <a:cubicBezTo>
                    <a:pt x="409" y="0"/>
                    <a:pt x="316" y="21"/>
                    <a:pt x="233" y="67"/>
                  </a:cubicBezTo>
                  <a:cubicBezTo>
                    <a:pt x="192" y="90"/>
                    <a:pt x="153" y="119"/>
                    <a:pt x="119" y="155"/>
                  </a:cubicBezTo>
                  <a:cubicBezTo>
                    <a:pt x="85" y="191"/>
                    <a:pt x="56" y="235"/>
                    <a:pt x="36" y="285"/>
                  </a:cubicBezTo>
                  <a:lnTo>
                    <a:pt x="36" y="285"/>
                  </a:lnTo>
                  <a:cubicBezTo>
                    <a:pt x="11" y="346"/>
                    <a:pt x="0" y="410"/>
                    <a:pt x="0" y="472"/>
                  </a:cubicBezTo>
                  <a:cubicBezTo>
                    <a:pt x="0" y="575"/>
                    <a:pt x="30" y="674"/>
                    <a:pt x="81" y="756"/>
                  </a:cubicBezTo>
                  <a:cubicBezTo>
                    <a:pt x="106" y="797"/>
                    <a:pt x="137" y="834"/>
                    <a:pt x="172" y="865"/>
                  </a:cubicBezTo>
                  <a:cubicBezTo>
                    <a:pt x="207" y="896"/>
                    <a:pt x="248" y="921"/>
                    <a:pt x="291" y="937"/>
                  </a:cubicBezTo>
                  <a:cubicBezTo>
                    <a:pt x="305" y="942"/>
                    <a:pt x="325" y="948"/>
                    <a:pt x="353" y="956"/>
                  </a:cubicBezTo>
                  <a:cubicBezTo>
                    <a:pt x="455" y="987"/>
                    <a:pt x="655" y="1042"/>
                    <a:pt x="903" y="1110"/>
                  </a:cubicBezTo>
                  <a:cubicBezTo>
                    <a:pt x="1275" y="1211"/>
                    <a:pt x="1752" y="1339"/>
                    <a:pt x="2155" y="1446"/>
                  </a:cubicBezTo>
                  <a:cubicBezTo>
                    <a:pt x="2357" y="1500"/>
                    <a:pt x="2539" y="1549"/>
                    <a:pt x="2681" y="1587"/>
                  </a:cubicBezTo>
                  <a:cubicBezTo>
                    <a:pt x="2752" y="1606"/>
                    <a:pt x="2813" y="1622"/>
                    <a:pt x="2860" y="1635"/>
                  </a:cubicBezTo>
                  <a:cubicBezTo>
                    <a:pt x="2907" y="1648"/>
                    <a:pt x="2942" y="1658"/>
                    <a:pt x="2960" y="1663"/>
                  </a:cubicBezTo>
                  <a:cubicBezTo>
                    <a:pt x="2986" y="1671"/>
                    <a:pt x="3013" y="1674"/>
                    <a:pt x="3040" y="1674"/>
                  </a:cubicBezTo>
                  <a:cubicBezTo>
                    <a:pt x="3102" y="1674"/>
                    <a:pt x="3165" y="1655"/>
                    <a:pt x="3218" y="1619"/>
                  </a:cubicBezTo>
                  <a:cubicBezTo>
                    <a:pt x="3271" y="1583"/>
                    <a:pt x="3315" y="1528"/>
                    <a:pt x="3334" y="1458"/>
                  </a:cubicBezTo>
                  <a:lnTo>
                    <a:pt x="3334" y="1458"/>
                  </a:lnTo>
                  <a:lnTo>
                    <a:pt x="3270" y="1441"/>
                  </a:lnTo>
                </a:path>
              </a:pathLst>
            </a:custGeom>
            <a:solidFill>
              <a:srgbClr val="EF31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89">
              <a:extLst>
                <a:ext uri="{FF2B5EF4-FFF2-40B4-BE49-F238E27FC236}">
                  <a16:creationId xmlns:a16="http://schemas.microsoft.com/office/drawing/2014/main" id="{861256D0-21E3-D607-D962-6ED658C54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1463" y="3182938"/>
              <a:ext cx="396875" cy="636588"/>
            </a:xfrm>
            <a:custGeom>
              <a:avLst/>
              <a:gdLst>
                <a:gd name="T0" fmla="*/ 736 w 881"/>
                <a:gd name="T1" fmla="*/ 48 h 1393"/>
                <a:gd name="T2" fmla="*/ 442 w 881"/>
                <a:gd name="T3" fmla="*/ 155 h 1393"/>
                <a:gd name="T4" fmla="*/ 23 w 881"/>
                <a:gd name="T5" fmla="*/ 1222 h 1393"/>
                <a:gd name="T6" fmla="*/ 100 w 881"/>
                <a:gd name="T7" fmla="*/ 1378 h 1393"/>
                <a:gd name="T8" fmla="*/ 259 w 881"/>
                <a:gd name="T9" fmla="*/ 1316 h 1393"/>
                <a:gd name="T10" fmla="*/ 825 w 881"/>
                <a:gd name="T11" fmla="*/ 330 h 1393"/>
                <a:gd name="T12" fmla="*/ 736 w 881"/>
                <a:gd name="T13" fmla="*/ 48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1" h="1393">
                  <a:moveTo>
                    <a:pt x="736" y="48"/>
                  </a:moveTo>
                  <a:cubicBezTo>
                    <a:pt x="644" y="0"/>
                    <a:pt x="509" y="22"/>
                    <a:pt x="442" y="155"/>
                  </a:cubicBezTo>
                  <a:cubicBezTo>
                    <a:pt x="375" y="289"/>
                    <a:pt x="39" y="1149"/>
                    <a:pt x="23" y="1222"/>
                  </a:cubicBezTo>
                  <a:cubicBezTo>
                    <a:pt x="0" y="1322"/>
                    <a:pt x="64" y="1364"/>
                    <a:pt x="100" y="1378"/>
                  </a:cubicBezTo>
                  <a:cubicBezTo>
                    <a:pt x="142" y="1393"/>
                    <a:pt x="228" y="1372"/>
                    <a:pt x="259" y="1316"/>
                  </a:cubicBezTo>
                  <a:cubicBezTo>
                    <a:pt x="283" y="1273"/>
                    <a:pt x="792" y="403"/>
                    <a:pt x="825" y="330"/>
                  </a:cubicBezTo>
                  <a:cubicBezTo>
                    <a:pt x="881" y="208"/>
                    <a:pt x="824" y="94"/>
                    <a:pt x="736" y="48"/>
                  </a:cubicBezTo>
                  <a:close/>
                </a:path>
              </a:pathLst>
            </a:custGeom>
            <a:noFill/>
            <a:ln w="30163" cap="flat">
              <a:solidFill>
                <a:srgbClr val="4BC19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90">
              <a:extLst>
                <a:ext uri="{FF2B5EF4-FFF2-40B4-BE49-F238E27FC236}">
                  <a16:creationId xmlns:a16="http://schemas.microsoft.com/office/drawing/2014/main" id="{835EDE66-C31F-6447-11D6-239202A55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97563" y="3082925"/>
              <a:ext cx="12700" cy="31750"/>
            </a:xfrm>
            <a:custGeom>
              <a:avLst/>
              <a:gdLst>
                <a:gd name="T0" fmla="*/ 0 w 27"/>
                <a:gd name="T1" fmla="*/ 68 h 68"/>
                <a:gd name="T2" fmla="*/ 0 w 27"/>
                <a:gd name="T3" fmla="*/ 68 h 68"/>
                <a:gd name="T4" fmla="*/ 0 w 27"/>
                <a:gd name="T5" fmla="*/ 68 h 68"/>
                <a:gd name="T6" fmla="*/ 27 w 27"/>
                <a:gd name="T7" fmla="*/ 0 h 68"/>
                <a:gd name="T8" fmla="*/ 0 w 27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68">
                  <a:moveTo>
                    <a:pt x="0" y="68"/>
                  </a:moveTo>
                  <a:lnTo>
                    <a:pt x="0" y="68"/>
                  </a:lnTo>
                  <a:lnTo>
                    <a:pt x="0" y="68"/>
                  </a:lnTo>
                  <a:cubicBezTo>
                    <a:pt x="9" y="45"/>
                    <a:pt x="18" y="23"/>
                    <a:pt x="27" y="0"/>
                  </a:cubicBezTo>
                  <a:cubicBezTo>
                    <a:pt x="18" y="23"/>
                    <a:pt x="9" y="45"/>
                    <a:pt x="0" y="68"/>
                  </a:cubicBezTo>
                  <a:close/>
                </a:path>
              </a:pathLst>
            </a:custGeom>
            <a:solidFill>
              <a:srgbClr val="1E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91">
              <a:extLst>
                <a:ext uri="{FF2B5EF4-FFF2-40B4-BE49-F238E27FC236}">
                  <a16:creationId xmlns:a16="http://schemas.microsoft.com/office/drawing/2014/main" id="{C2F2F17C-5D5A-2328-C0C9-CE1AE5A0A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54713" y="3114675"/>
              <a:ext cx="57150" cy="25400"/>
            </a:xfrm>
            <a:custGeom>
              <a:avLst/>
              <a:gdLst>
                <a:gd name="T0" fmla="*/ 105 w 128"/>
                <a:gd name="T1" fmla="*/ 58 h 58"/>
                <a:gd name="T2" fmla="*/ 128 w 128"/>
                <a:gd name="T3" fmla="*/ 0 h 58"/>
                <a:gd name="T4" fmla="*/ 128 w 128"/>
                <a:gd name="T5" fmla="*/ 0 h 58"/>
                <a:gd name="T6" fmla="*/ 128 w 128"/>
                <a:gd name="T7" fmla="*/ 0 h 58"/>
                <a:gd name="T8" fmla="*/ 128 w 128"/>
                <a:gd name="T9" fmla="*/ 0 h 58"/>
                <a:gd name="T10" fmla="*/ 105 w 128"/>
                <a:gd name="T11" fmla="*/ 58 h 58"/>
                <a:gd name="T12" fmla="*/ 1 w 128"/>
                <a:gd name="T13" fmla="*/ 52 h 58"/>
                <a:gd name="T14" fmla="*/ 0 w 128"/>
                <a:gd name="T15" fmla="*/ 50 h 58"/>
                <a:gd name="T16" fmla="*/ 0 w 128"/>
                <a:gd name="T17" fmla="*/ 50 h 58"/>
                <a:gd name="T18" fmla="*/ 1 w 128"/>
                <a:gd name="T19" fmla="*/ 5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58">
                  <a:moveTo>
                    <a:pt x="105" y="58"/>
                  </a:moveTo>
                  <a:cubicBezTo>
                    <a:pt x="113" y="38"/>
                    <a:pt x="120" y="19"/>
                    <a:pt x="128" y="0"/>
                  </a:cubicBez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cubicBezTo>
                    <a:pt x="120" y="19"/>
                    <a:pt x="113" y="39"/>
                    <a:pt x="105" y="58"/>
                  </a:cubicBezTo>
                  <a:close/>
                  <a:moveTo>
                    <a:pt x="1" y="52"/>
                  </a:moveTo>
                  <a:cubicBezTo>
                    <a:pt x="1" y="51"/>
                    <a:pt x="1" y="51"/>
                    <a:pt x="0" y="50"/>
                  </a:cubicBezTo>
                  <a:lnTo>
                    <a:pt x="0" y="50"/>
                  </a:lnTo>
                  <a:cubicBezTo>
                    <a:pt x="1" y="51"/>
                    <a:pt x="1" y="51"/>
                    <a:pt x="1" y="52"/>
                  </a:cubicBezTo>
                </a:path>
              </a:pathLst>
            </a:custGeom>
            <a:solidFill>
              <a:srgbClr val="5E5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92">
              <a:extLst>
                <a:ext uri="{FF2B5EF4-FFF2-40B4-BE49-F238E27FC236}">
                  <a16:creationId xmlns:a16="http://schemas.microsoft.com/office/drawing/2014/main" id="{1B85889E-B70F-0B63-9718-0F2B1FF08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76925" y="3051175"/>
              <a:ext cx="4763" cy="12700"/>
            </a:xfrm>
            <a:custGeom>
              <a:avLst/>
              <a:gdLst>
                <a:gd name="T0" fmla="*/ 0 w 11"/>
                <a:gd name="T1" fmla="*/ 29 h 29"/>
                <a:gd name="T2" fmla="*/ 0 w 11"/>
                <a:gd name="T3" fmla="*/ 29 h 29"/>
                <a:gd name="T4" fmla="*/ 0 w 11"/>
                <a:gd name="T5" fmla="*/ 29 h 29"/>
                <a:gd name="T6" fmla="*/ 11 w 11"/>
                <a:gd name="T7" fmla="*/ 0 h 29"/>
                <a:gd name="T8" fmla="*/ 0 w 1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9">
                  <a:moveTo>
                    <a:pt x="0" y="29"/>
                  </a:moveTo>
                  <a:lnTo>
                    <a:pt x="0" y="29"/>
                  </a:lnTo>
                  <a:lnTo>
                    <a:pt x="0" y="29"/>
                  </a:lnTo>
                  <a:cubicBezTo>
                    <a:pt x="4" y="19"/>
                    <a:pt x="8" y="10"/>
                    <a:pt x="11" y="0"/>
                  </a:cubicBezTo>
                  <a:cubicBezTo>
                    <a:pt x="8" y="10"/>
                    <a:pt x="4" y="20"/>
                    <a:pt x="0" y="29"/>
                  </a:cubicBezTo>
                  <a:close/>
                </a:path>
              </a:pathLst>
            </a:custGeom>
            <a:solidFill>
              <a:srgbClr val="1E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93">
              <a:extLst>
                <a:ext uri="{FF2B5EF4-FFF2-40B4-BE49-F238E27FC236}">
                  <a16:creationId xmlns:a16="http://schemas.microsoft.com/office/drawing/2014/main" id="{6B93E8E5-C821-B197-3E71-9C0CBD4B3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83275" y="3063875"/>
              <a:ext cx="6350" cy="12700"/>
            </a:xfrm>
            <a:custGeom>
              <a:avLst/>
              <a:gdLst>
                <a:gd name="T0" fmla="*/ 0 w 11"/>
                <a:gd name="T1" fmla="*/ 27 h 27"/>
                <a:gd name="T2" fmla="*/ 11 w 11"/>
                <a:gd name="T3" fmla="*/ 0 h 27"/>
                <a:gd name="T4" fmla="*/ 11 w 11"/>
                <a:gd name="T5" fmla="*/ 0 h 27"/>
                <a:gd name="T6" fmla="*/ 11 w 11"/>
                <a:gd name="T7" fmla="*/ 0 h 27"/>
                <a:gd name="T8" fmla="*/ 11 w 11"/>
                <a:gd name="T9" fmla="*/ 0 h 27"/>
                <a:gd name="T10" fmla="*/ 0 w 11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7">
                  <a:moveTo>
                    <a:pt x="0" y="27"/>
                  </a:moveTo>
                  <a:cubicBezTo>
                    <a:pt x="4" y="18"/>
                    <a:pt x="7" y="9"/>
                    <a:pt x="11" y="0"/>
                  </a:cubicBez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cubicBezTo>
                    <a:pt x="7" y="9"/>
                    <a:pt x="4" y="18"/>
                    <a:pt x="0" y="27"/>
                  </a:cubicBezTo>
                </a:path>
              </a:pathLst>
            </a:custGeom>
            <a:solidFill>
              <a:srgbClr val="5E5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94">
              <a:extLst>
                <a:ext uri="{FF2B5EF4-FFF2-40B4-BE49-F238E27FC236}">
                  <a16:creationId xmlns:a16="http://schemas.microsoft.com/office/drawing/2014/main" id="{A2E1C91D-07A3-7562-B056-DB68E002A3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56313" y="3051175"/>
              <a:ext cx="261938" cy="15875"/>
            </a:xfrm>
            <a:custGeom>
              <a:avLst/>
              <a:gdLst>
                <a:gd name="T0" fmla="*/ 580 w 580"/>
                <a:gd name="T1" fmla="*/ 34 h 34"/>
                <a:gd name="T2" fmla="*/ 552 w 580"/>
                <a:gd name="T3" fmla="*/ 26 h 34"/>
                <a:gd name="T4" fmla="*/ 533 w 580"/>
                <a:gd name="T5" fmla="*/ 22 h 34"/>
                <a:gd name="T6" fmla="*/ 496 w 580"/>
                <a:gd name="T7" fmla="*/ 14 h 34"/>
                <a:gd name="T8" fmla="*/ 491 w 580"/>
                <a:gd name="T9" fmla="*/ 12 h 34"/>
                <a:gd name="T10" fmla="*/ 580 w 580"/>
                <a:gd name="T11" fmla="*/ 34 h 34"/>
                <a:gd name="T12" fmla="*/ 0 w 580"/>
                <a:gd name="T13" fmla="*/ 27 h 34"/>
                <a:gd name="T14" fmla="*/ 21 w 580"/>
                <a:gd name="T15" fmla="*/ 22 h 34"/>
                <a:gd name="T16" fmla="*/ 17 w 580"/>
                <a:gd name="T17" fmla="*/ 23 h 34"/>
                <a:gd name="T18" fmla="*/ 0 w 580"/>
                <a:gd name="T19" fmla="*/ 27 h 34"/>
                <a:gd name="T20" fmla="*/ 30 w 580"/>
                <a:gd name="T21" fmla="*/ 20 h 34"/>
                <a:gd name="T22" fmla="*/ 51 w 580"/>
                <a:gd name="T23" fmla="*/ 15 h 34"/>
                <a:gd name="T24" fmla="*/ 48 w 580"/>
                <a:gd name="T25" fmla="*/ 16 h 34"/>
                <a:gd name="T26" fmla="*/ 34 w 580"/>
                <a:gd name="T27" fmla="*/ 19 h 34"/>
                <a:gd name="T28" fmla="*/ 30 w 580"/>
                <a:gd name="T29" fmla="*/ 20 h 34"/>
                <a:gd name="T30" fmla="*/ 56 w 580"/>
                <a:gd name="T31" fmla="*/ 14 h 34"/>
                <a:gd name="T32" fmla="*/ 149 w 580"/>
                <a:gd name="T33" fmla="*/ 1 h 34"/>
                <a:gd name="T34" fmla="*/ 135 w 580"/>
                <a:gd name="T35" fmla="*/ 2 h 34"/>
                <a:gd name="T36" fmla="*/ 123 w 580"/>
                <a:gd name="T37" fmla="*/ 3 h 34"/>
                <a:gd name="T38" fmla="*/ 99 w 580"/>
                <a:gd name="T39" fmla="*/ 7 h 34"/>
                <a:gd name="T40" fmla="*/ 72 w 580"/>
                <a:gd name="T41" fmla="*/ 11 h 34"/>
                <a:gd name="T42" fmla="*/ 60 w 580"/>
                <a:gd name="T43" fmla="*/ 14 h 34"/>
                <a:gd name="T44" fmla="*/ 56 w 580"/>
                <a:gd name="T45" fmla="*/ 14 h 34"/>
                <a:gd name="T46" fmla="*/ 483 w 580"/>
                <a:gd name="T47" fmla="*/ 11 h 34"/>
                <a:gd name="T48" fmla="*/ 478 w 580"/>
                <a:gd name="T49" fmla="*/ 10 h 34"/>
                <a:gd name="T50" fmla="*/ 457 w 580"/>
                <a:gd name="T51" fmla="*/ 7 h 34"/>
                <a:gd name="T52" fmla="*/ 443 w 580"/>
                <a:gd name="T53" fmla="*/ 5 h 34"/>
                <a:gd name="T54" fmla="*/ 407 w 580"/>
                <a:gd name="T55" fmla="*/ 0 h 34"/>
                <a:gd name="T56" fmla="*/ 483 w 580"/>
                <a:gd name="T57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0" h="34">
                  <a:moveTo>
                    <a:pt x="580" y="34"/>
                  </a:moveTo>
                  <a:cubicBezTo>
                    <a:pt x="570" y="31"/>
                    <a:pt x="561" y="29"/>
                    <a:pt x="552" y="26"/>
                  </a:cubicBezTo>
                  <a:cubicBezTo>
                    <a:pt x="546" y="25"/>
                    <a:pt x="539" y="23"/>
                    <a:pt x="533" y="22"/>
                  </a:cubicBezTo>
                  <a:cubicBezTo>
                    <a:pt x="521" y="19"/>
                    <a:pt x="509" y="16"/>
                    <a:pt x="496" y="14"/>
                  </a:cubicBezTo>
                  <a:cubicBezTo>
                    <a:pt x="495" y="13"/>
                    <a:pt x="493" y="13"/>
                    <a:pt x="491" y="12"/>
                  </a:cubicBezTo>
                  <a:cubicBezTo>
                    <a:pt x="521" y="18"/>
                    <a:pt x="550" y="25"/>
                    <a:pt x="580" y="34"/>
                  </a:cubicBezTo>
                  <a:moveTo>
                    <a:pt x="0" y="27"/>
                  </a:moveTo>
                  <a:cubicBezTo>
                    <a:pt x="7" y="25"/>
                    <a:pt x="14" y="24"/>
                    <a:pt x="21" y="22"/>
                  </a:cubicBezTo>
                  <a:cubicBezTo>
                    <a:pt x="20" y="22"/>
                    <a:pt x="18" y="23"/>
                    <a:pt x="17" y="23"/>
                  </a:cubicBezTo>
                  <a:cubicBezTo>
                    <a:pt x="12" y="24"/>
                    <a:pt x="6" y="26"/>
                    <a:pt x="0" y="27"/>
                  </a:cubicBezTo>
                  <a:close/>
                  <a:moveTo>
                    <a:pt x="30" y="20"/>
                  </a:moveTo>
                  <a:cubicBezTo>
                    <a:pt x="37" y="18"/>
                    <a:pt x="44" y="17"/>
                    <a:pt x="51" y="15"/>
                  </a:cubicBezTo>
                  <a:cubicBezTo>
                    <a:pt x="50" y="15"/>
                    <a:pt x="49" y="16"/>
                    <a:pt x="48" y="16"/>
                  </a:cubicBezTo>
                  <a:cubicBezTo>
                    <a:pt x="43" y="17"/>
                    <a:pt x="38" y="18"/>
                    <a:pt x="34" y="19"/>
                  </a:cubicBezTo>
                  <a:cubicBezTo>
                    <a:pt x="33" y="19"/>
                    <a:pt x="32" y="19"/>
                    <a:pt x="30" y="20"/>
                  </a:cubicBezTo>
                  <a:close/>
                  <a:moveTo>
                    <a:pt x="56" y="14"/>
                  </a:moveTo>
                  <a:cubicBezTo>
                    <a:pt x="86" y="8"/>
                    <a:pt x="117" y="3"/>
                    <a:pt x="149" y="1"/>
                  </a:cubicBezTo>
                  <a:cubicBezTo>
                    <a:pt x="144" y="1"/>
                    <a:pt x="139" y="2"/>
                    <a:pt x="135" y="2"/>
                  </a:cubicBezTo>
                  <a:cubicBezTo>
                    <a:pt x="131" y="2"/>
                    <a:pt x="127" y="3"/>
                    <a:pt x="123" y="3"/>
                  </a:cubicBezTo>
                  <a:cubicBezTo>
                    <a:pt x="115" y="4"/>
                    <a:pt x="107" y="6"/>
                    <a:pt x="99" y="7"/>
                  </a:cubicBezTo>
                  <a:cubicBezTo>
                    <a:pt x="90" y="8"/>
                    <a:pt x="81" y="10"/>
                    <a:pt x="72" y="11"/>
                  </a:cubicBezTo>
                  <a:cubicBezTo>
                    <a:pt x="68" y="12"/>
                    <a:pt x="64" y="13"/>
                    <a:pt x="60" y="14"/>
                  </a:cubicBezTo>
                  <a:cubicBezTo>
                    <a:pt x="59" y="14"/>
                    <a:pt x="57" y="14"/>
                    <a:pt x="56" y="14"/>
                  </a:cubicBezTo>
                  <a:moveTo>
                    <a:pt x="483" y="11"/>
                  </a:moveTo>
                  <a:cubicBezTo>
                    <a:pt x="481" y="11"/>
                    <a:pt x="479" y="10"/>
                    <a:pt x="478" y="10"/>
                  </a:cubicBezTo>
                  <a:cubicBezTo>
                    <a:pt x="471" y="9"/>
                    <a:pt x="464" y="8"/>
                    <a:pt x="457" y="7"/>
                  </a:cubicBezTo>
                  <a:cubicBezTo>
                    <a:pt x="452" y="6"/>
                    <a:pt x="448" y="5"/>
                    <a:pt x="443" y="5"/>
                  </a:cubicBezTo>
                  <a:cubicBezTo>
                    <a:pt x="431" y="3"/>
                    <a:pt x="419" y="2"/>
                    <a:pt x="407" y="0"/>
                  </a:cubicBezTo>
                  <a:cubicBezTo>
                    <a:pt x="433" y="3"/>
                    <a:pt x="458" y="6"/>
                    <a:pt x="483" y="11"/>
                  </a:cubicBezTo>
                </a:path>
              </a:pathLst>
            </a:custGeom>
            <a:solidFill>
              <a:srgbClr val="1E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95">
              <a:extLst>
                <a:ext uri="{FF2B5EF4-FFF2-40B4-BE49-F238E27FC236}">
                  <a16:creationId xmlns:a16="http://schemas.microsoft.com/office/drawing/2014/main" id="{5CE9CF4D-B848-0153-BDEC-DEFE51291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62675" y="3281363"/>
              <a:ext cx="347663" cy="485775"/>
            </a:xfrm>
            <a:custGeom>
              <a:avLst/>
              <a:gdLst>
                <a:gd name="T0" fmla="*/ 539 w 767"/>
                <a:gd name="T1" fmla="*/ 1065 h 1065"/>
                <a:gd name="T2" fmla="*/ 525 w 767"/>
                <a:gd name="T3" fmla="*/ 1065 h 1065"/>
                <a:gd name="T4" fmla="*/ 143 w 767"/>
                <a:gd name="T5" fmla="*/ 1030 h 1065"/>
                <a:gd name="T6" fmla="*/ 7 w 767"/>
                <a:gd name="T7" fmla="*/ 867 h 1065"/>
                <a:gd name="T8" fmla="*/ 68 w 767"/>
                <a:gd name="T9" fmla="*/ 192 h 1065"/>
                <a:gd name="T10" fmla="*/ 75 w 767"/>
                <a:gd name="T11" fmla="*/ 184 h 1065"/>
                <a:gd name="T12" fmla="*/ 76 w 767"/>
                <a:gd name="T13" fmla="*/ 183 h 1065"/>
                <a:gd name="T14" fmla="*/ 86 w 767"/>
                <a:gd name="T15" fmla="*/ 174 h 1065"/>
                <a:gd name="T16" fmla="*/ 126 w 767"/>
                <a:gd name="T17" fmla="*/ 137 h 1065"/>
                <a:gd name="T18" fmla="*/ 137 w 767"/>
                <a:gd name="T19" fmla="*/ 129 h 1065"/>
                <a:gd name="T20" fmla="*/ 148 w 767"/>
                <a:gd name="T21" fmla="*/ 121 h 1065"/>
                <a:gd name="T22" fmla="*/ 159 w 767"/>
                <a:gd name="T23" fmla="*/ 113 h 1065"/>
                <a:gd name="T24" fmla="*/ 170 w 767"/>
                <a:gd name="T25" fmla="*/ 105 h 1065"/>
                <a:gd name="T26" fmla="*/ 181 w 767"/>
                <a:gd name="T27" fmla="*/ 97 h 1065"/>
                <a:gd name="T28" fmla="*/ 192 w 767"/>
                <a:gd name="T29" fmla="*/ 90 h 1065"/>
                <a:gd name="T30" fmla="*/ 229 w 767"/>
                <a:gd name="T31" fmla="*/ 69 h 1065"/>
                <a:gd name="T32" fmla="*/ 231 w 767"/>
                <a:gd name="T33" fmla="*/ 68 h 1065"/>
                <a:gd name="T34" fmla="*/ 241 w 767"/>
                <a:gd name="T35" fmla="*/ 63 h 1065"/>
                <a:gd name="T36" fmla="*/ 257 w 767"/>
                <a:gd name="T37" fmla="*/ 55 h 1065"/>
                <a:gd name="T38" fmla="*/ 266 w 767"/>
                <a:gd name="T39" fmla="*/ 51 h 1065"/>
                <a:gd name="T40" fmla="*/ 305 w 767"/>
                <a:gd name="T41" fmla="*/ 36 h 1065"/>
                <a:gd name="T42" fmla="*/ 331 w 767"/>
                <a:gd name="T43" fmla="*/ 27 h 1065"/>
                <a:gd name="T44" fmla="*/ 345 w 767"/>
                <a:gd name="T45" fmla="*/ 23 h 1065"/>
                <a:gd name="T46" fmla="*/ 370 w 767"/>
                <a:gd name="T47" fmla="*/ 16 h 1065"/>
                <a:gd name="T48" fmla="*/ 386 w 767"/>
                <a:gd name="T49" fmla="*/ 13 h 1065"/>
                <a:gd name="T50" fmla="*/ 400 w 767"/>
                <a:gd name="T51" fmla="*/ 10 h 1065"/>
                <a:gd name="T52" fmla="*/ 414 w 767"/>
                <a:gd name="T53" fmla="*/ 8 h 1065"/>
                <a:gd name="T54" fmla="*/ 428 w 767"/>
                <a:gd name="T55" fmla="*/ 6 h 1065"/>
                <a:gd name="T56" fmla="*/ 443 w 767"/>
                <a:gd name="T57" fmla="*/ 4 h 1065"/>
                <a:gd name="T58" fmla="*/ 443 w 767"/>
                <a:gd name="T59" fmla="*/ 4 h 1065"/>
                <a:gd name="T60" fmla="*/ 443 w 767"/>
                <a:gd name="T61" fmla="*/ 4 h 1065"/>
                <a:gd name="T62" fmla="*/ 498 w 767"/>
                <a:gd name="T63" fmla="*/ 0 h 1065"/>
                <a:gd name="T64" fmla="*/ 513 w 767"/>
                <a:gd name="T65" fmla="*/ 0 h 1065"/>
                <a:gd name="T66" fmla="*/ 664 w 767"/>
                <a:gd name="T67" fmla="*/ 19 h 1065"/>
                <a:gd name="T68" fmla="*/ 767 w 767"/>
                <a:gd name="T69" fmla="*/ 55 h 1065"/>
                <a:gd name="T70" fmla="*/ 767 w 767"/>
                <a:gd name="T71" fmla="*/ 55 h 1065"/>
                <a:gd name="T72" fmla="*/ 751 w 767"/>
                <a:gd name="T73" fmla="*/ 227 h 1065"/>
                <a:gd name="T74" fmla="*/ 514 w 767"/>
                <a:gd name="T75" fmla="*/ 160 h 1065"/>
                <a:gd name="T76" fmla="*/ 66 w 767"/>
                <a:gd name="T77" fmla="*/ 609 h 1065"/>
                <a:gd name="T78" fmla="*/ 514 w 767"/>
                <a:gd name="T79" fmla="*/ 1057 h 1065"/>
                <a:gd name="T80" fmla="*/ 609 w 767"/>
                <a:gd name="T81" fmla="*/ 1047 h 1065"/>
                <a:gd name="T82" fmla="*/ 539 w 767"/>
                <a:gd name="T83" fmla="*/ 1065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67" h="1065">
                  <a:moveTo>
                    <a:pt x="539" y="1065"/>
                  </a:moveTo>
                  <a:cubicBezTo>
                    <a:pt x="534" y="1065"/>
                    <a:pt x="530" y="1065"/>
                    <a:pt x="525" y="1065"/>
                  </a:cubicBezTo>
                  <a:lnTo>
                    <a:pt x="143" y="1030"/>
                  </a:lnTo>
                  <a:cubicBezTo>
                    <a:pt x="61" y="1023"/>
                    <a:pt x="0" y="949"/>
                    <a:pt x="7" y="867"/>
                  </a:cubicBezTo>
                  <a:lnTo>
                    <a:pt x="68" y="192"/>
                  </a:lnTo>
                  <a:cubicBezTo>
                    <a:pt x="71" y="189"/>
                    <a:pt x="73" y="187"/>
                    <a:pt x="75" y="184"/>
                  </a:cubicBezTo>
                  <a:lnTo>
                    <a:pt x="76" y="183"/>
                  </a:lnTo>
                  <a:cubicBezTo>
                    <a:pt x="79" y="180"/>
                    <a:pt x="83" y="177"/>
                    <a:pt x="86" y="174"/>
                  </a:cubicBezTo>
                  <a:cubicBezTo>
                    <a:pt x="99" y="161"/>
                    <a:pt x="112" y="149"/>
                    <a:pt x="126" y="137"/>
                  </a:cubicBezTo>
                  <a:cubicBezTo>
                    <a:pt x="130" y="134"/>
                    <a:pt x="133" y="132"/>
                    <a:pt x="137" y="129"/>
                  </a:cubicBezTo>
                  <a:cubicBezTo>
                    <a:pt x="141" y="126"/>
                    <a:pt x="144" y="123"/>
                    <a:pt x="148" y="121"/>
                  </a:cubicBezTo>
                  <a:cubicBezTo>
                    <a:pt x="151" y="118"/>
                    <a:pt x="155" y="115"/>
                    <a:pt x="159" y="113"/>
                  </a:cubicBezTo>
                  <a:cubicBezTo>
                    <a:pt x="163" y="110"/>
                    <a:pt x="166" y="107"/>
                    <a:pt x="170" y="105"/>
                  </a:cubicBezTo>
                  <a:cubicBezTo>
                    <a:pt x="174" y="102"/>
                    <a:pt x="178" y="100"/>
                    <a:pt x="181" y="97"/>
                  </a:cubicBezTo>
                  <a:cubicBezTo>
                    <a:pt x="185" y="95"/>
                    <a:pt x="189" y="93"/>
                    <a:pt x="192" y="90"/>
                  </a:cubicBezTo>
                  <a:cubicBezTo>
                    <a:pt x="204" y="83"/>
                    <a:pt x="216" y="76"/>
                    <a:pt x="229" y="69"/>
                  </a:cubicBezTo>
                  <a:lnTo>
                    <a:pt x="231" y="68"/>
                  </a:lnTo>
                  <a:cubicBezTo>
                    <a:pt x="234" y="66"/>
                    <a:pt x="238" y="65"/>
                    <a:pt x="241" y="63"/>
                  </a:cubicBezTo>
                  <a:cubicBezTo>
                    <a:pt x="246" y="61"/>
                    <a:pt x="252" y="58"/>
                    <a:pt x="257" y="55"/>
                  </a:cubicBezTo>
                  <a:cubicBezTo>
                    <a:pt x="260" y="54"/>
                    <a:pt x="263" y="53"/>
                    <a:pt x="266" y="51"/>
                  </a:cubicBezTo>
                  <a:cubicBezTo>
                    <a:pt x="279" y="46"/>
                    <a:pt x="292" y="41"/>
                    <a:pt x="305" y="36"/>
                  </a:cubicBezTo>
                  <a:cubicBezTo>
                    <a:pt x="314" y="33"/>
                    <a:pt x="322" y="30"/>
                    <a:pt x="331" y="27"/>
                  </a:cubicBezTo>
                  <a:cubicBezTo>
                    <a:pt x="336" y="26"/>
                    <a:pt x="340" y="24"/>
                    <a:pt x="345" y="23"/>
                  </a:cubicBezTo>
                  <a:cubicBezTo>
                    <a:pt x="353" y="21"/>
                    <a:pt x="362" y="18"/>
                    <a:pt x="370" y="16"/>
                  </a:cubicBezTo>
                  <a:cubicBezTo>
                    <a:pt x="375" y="15"/>
                    <a:pt x="381" y="14"/>
                    <a:pt x="386" y="13"/>
                  </a:cubicBezTo>
                  <a:cubicBezTo>
                    <a:pt x="391" y="12"/>
                    <a:pt x="395" y="11"/>
                    <a:pt x="400" y="10"/>
                  </a:cubicBezTo>
                  <a:cubicBezTo>
                    <a:pt x="405" y="9"/>
                    <a:pt x="409" y="8"/>
                    <a:pt x="414" y="8"/>
                  </a:cubicBezTo>
                  <a:cubicBezTo>
                    <a:pt x="419" y="7"/>
                    <a:pt x="423" y="6"/>
                    <a:pt x="428" y="6"/>
                  </a:cubicBezTo>
                  <a:cubicBezTo>
                    <a:pt x="433" y="5"/>
                    <a:pt x="438" y="4"/>
                    <a:pt x="443" y="4"/>
                  </a:cubicBezTo>
                  <a:lnTo>
                    <a:pt x="443" y="4"/>
                  </a:lnTo>
                  <a:lnTo>
                    <a:pt x="443" y="4"/>
                  </a:lnTo>
                  <a:cubicBezTo>
                    <a:pt x="461" y="2"/>
                    <a:pt x="479" y="0"/>
                    <a:pt x="498" y="0"/>
                  </a:cubicBezTo>
                  <a:cubicBezTo>
                    <a:pt x="503" y="0"/>
                    <a:pt x="508" y="0"/>
                    <a:pt x="513" y="0"/>
                  </a:cubicBezTo>
                  <a:cubicBezTo>
                    <a:pt x="565" y="0"/>
                    <a:pt x="616" y="6"/>
                    <a:pt x="664" y="19"/>
                  </a:cubicBezTo>
                  <a:cubicBezTo>
                    <a:pt x="700" y="28"/>
                    <a:pt x="734" y="40"/>
                    <a:pt x="767" y="55"/>
                  </a:cubicBezTo>
                  <a:lnTo>
                    <a:pt x="767" y="55"/>
                  </a:lnTo>
                  <a:lnTo>
                    <a:pt x="751" y="227"/>
                  </a:lnTo>
                  <a:cubicBezTo>
                    <a:pt x="683" y="185"/>
                    <a:pt x="601" y="160"/>
                    <a:pt x="514" y="160"/>
                  </a:cubicBezTo>
                  <a:cubicBezTo>
                    <a:pt x="266" y="160"/>
                    <a:pt x="66" y="361"/>
                    <a:pt x="66" y="609"/>
                  </a:cubicBezTo>
                  <a:cubicBezTo>
                    <a:pt x="66" y="856"/>
                    <a:pt x="266" y="1057"/>
                    <a:pt x="514" y="1057"/>
                  </a:cubicBezTo>
                  <a:cubicBezTo>
                    <a:pt x="547" y="1057"/>
                    <a:pt x="578" y="1054"/>
                    <a:pt x="609" y="1047"/>
                  </a:cubicBezTo>
                  <a:cubicBezTo>
                    <a:pt x="588" y="1059"/>
                    <a:pt x="564" y="1065"/>
                    <a:pt x="539" y="1065"/>
                  </a:cubicBezTo>
                </a:path>
              </a:pathLst>
            </a:custGeom>
            <a:solidFill>
              <a:srgbClr val="4E4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96">
              <a:extLst>
                <a:ext uri="{FF2B5EF4-FFF2-40B4-BE49-F238E27FC236}">
                  <a16:creationId xmlns:a16="http://schemas.microsoft.com/office/drawing/2014/main" id="{2CCE1B80-568C-7A7B-6C17-508A606905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76950" y="3051175"/>
              <a:ext cx="282575" cy="255588"/>
            </a:xfrm>
            <a:custGeom>
              <a:avLst/>
              <a:gdLst>
                <a:gd name="T0" fmla="*/ 577 w 624"/>
                <a:gd name="T1" fmla="*/ 559 h 559"/>
                <a:gd name="T2" fmla="*/ 577 w 624"/>
                <a:gd name="T3" fmla="*/ 559 h 559"/>
                <a:gd name="T4" fmla="*/ 474 w 624"/>
                <a:gd name="T5" fmla="*/ 523 h 559"/>
                <a:gd name="T6" fmla="*/ 323 w 624"/>
                <a:gd name="T7" fmla="*/ 504 h 559"/>
                <a:gd name="T8" fmla="*/ 308 w 624"/>
                <a:gd name="T9" fmla="*/ 504 h 559"/>
                <a:gd name="T10" fmla="*/ 253 w 624"/>
                <a:gd name="T11" fmla="*/ 508 h 559"/>
                <a:gd name="T12" fmla="*/ 253 w 624"/>
                <a:gd name="T13" fmla="*/ 508 h 559"/>
                <a:gd name="T14" fmla="*/ 186 w 624"/>
                <a:gd name="T15" fmla="*/ 441 h 559"/>
                <a:gd name="T16" fmla="*/ 149 w 624"/>
                <a:gd name="T17" fmla="*/ 405 h 559"/>
                <a:gd name="T18" fmla="*/ 64 w 624"/>
                <a:gd name="T19" fmla="*/ 319 h 559"/>
                <a:gd name="T20" fmla="*/ 46 w 624"/>
                <a:gd name="T21" fmla="*/ 301 h 559"/>
                <a:gd name="T22" fmla="*/ 0 w 624"/>
                <a:gd name="T23" fmla="*/ 255 h 559"/>
                <a:gd name="T24" fmla="*/ 18 w 624"/>
                <a:gd name="T25" fmla="*/ 247 h 559"/>
                <a:gd name="T26" fmla="*/ 18 w 624"/>
                <a:gd name="T27" fmla="*/ 35 h 559"/>
                <a:gd name="T28" fmla="*/ 44 w 624"/>
                <a:gd name="T29" fmla="*/ 27 h 559"/>
                <a:gd name="T30" fmla="*/ 61 w 624"/>
                <a:gd name="T31" fmla="*/ 23 h 559"/>
                <a:gd name="T32" fmla="*/ 65 w 624"/>
                <a:gd name="T33" fmla="*/ 22 h 559"/>
                <a:gd name="T34" fmla="*/ 74 w 624"/>
                <a:gd name="T35" fmla="*/ 20 h 559"/>
                <a:gd name="T36" fmla="*/ 78 w 624"/>
                <a:gd name="T37" fmla="*/ 19 h 559"/>
                <a:gd name="T38" fmla="*/ 92 w 624"/>
                <a:gd name="T39" fmla="*/ 16 h 559"/>
                <a:gd name="T40" fmla="*/ 95 w 624"/>
                <a:gd name="T41" fmla="*/ 15 h 559"/>
                <a:gd name="T42" fmla="*/ 100 w 624"/>
                <a:gd name="T43" fmla="*/ 14 h 559"/>
                <a:gd name="T44" fmla="*/ 104 w 624"/>
                <a:gd name="T45" fmla="*/ 14 h 559"/>
                <a:gd name="T46" fmla="*/ 116 w 624"/>
                <a:gd name="T47" fmla="*/ 11 h 559"/>
                <a:gd name="T48" fmla="*/ 143 w 624"/>
                <a:gd name="T49" fmla="*/ 7 h 559"/>
                <a:gd name="T50" fmla="*/ 167 w 624"/>
                <a:gd name="T51" fmla="*/ 3 h 559"/>
                <a:gd name="T52" fmla="*/ 179 w 624"/>
                <a:gd name="T53" fmla="*/ 2 h 559"/>
                <a:gd name="T54" fmla="*/ 193 w 624"/>
                <a:gd name="T55" fmla="*/ 1 h 559"/>
                <a:gd name="T56" fmla="*/ 193 w 624"/>
                <a:gd name="T57" fmla="*/ 1 h 559"/>
                <a:gd name="T58" fmla="*/ 268 w 624"/>
                <a:gd name="T59" fmla="*/ 188 h 559"/>
                <a:gd name="T60" fmla="*/ 268 w 624"/>
                <a:gd name="T61" fmla="*/ 188 h 559"/>
                <a:gd name="T62" fmla="*/ 269 w 624"/>
                <a:gd name="T63" fmla="*/ 190 h 559"/>
                <a:gd name="T64" fmla="*/ 272 w 624"/>
                <a:gd name="T65" fmla="*/ 196 h 559"/>
                <a:gd name="T66" fmla="*/ 373 w 624"/>
                <a:gd name="T67" fmla="*/ 196 h 559"/>
                <a:gd name="T68" fmla="*/ 373 w 624"/>
                <a:gd name="T69" fmla="*/ 196 h 559"/>
                <a:gd name="T70" fmla="*/ 396 w 624"/>
                <a:gd name="T71" fmla="*/ 138 h 559"/>
                <a:gd name="T72" fmla="*/ 396 w 624"/>
                <a:gd name="T73" fmla="*/ 138 h 559"/>
                <a:gd name="T74" fmla="*/ 423 w 624"/>
                <a:gd name="T75" fmla="*/ 70 h 559"/>
                <a:gd name="T76" fmla="*/ 429 w 624"/>
                <a:gd name="T77" fmla="*/ 56 h 559"/>
                <a:gd name="T78" fmla="*/ 440 w 624"/>
                <a:gd name="T79" fmla="*/ 29 h 559"/>
                <a:gd name="T80" fmla="*/ 440 w 624"/>
                <a:gd name="T81" fmla="*/ 29 h 559"/>
                <a:gd name="T82" fmla="*/ 451 w 624"/>
                <a:gd name="T83" fmla="*/ 0 h 559"/>
                <a:gd name="T84" fmla="*/ 451 w 624"/>
                <a:gd name="T85" fmla="*/ 0 h 559"/>
                <a:gd name="T86" fmla="*/ 451 w 624"/>
                <a:gd name="T87" fmla="*/ 0 h 559"/>
                <a:gd name="T88" fmla="*/ 487 w 624"/>
                <a:gd name="T89" fmla="*/ 5 h 559"/>
                <a:gd name="T90" fmla="*/ 501 w 624"/>
                <a:gd name="T91" fmla="*/ 7 h 559"/>
                <a:gd name="T92" fmla="*/ 522 w 624"/>
                <a:gd name="T93" fmla="*/ 10 h 559"/>
                <a:gd name="T94" fmla="*/ 527 w 624"/>
                <a:gd name="T95" fmla="*/ 11 h 559"/>
                <a:gd name="T96" fmla="*/ 535 w 624"/>
                <a:gd name="T97" fmla="*/ 12 h 559"/>
                <a:gd name="T98" fmla="*/ 540 w 624"/>
                <a:gd name="T99" fmla="*/ 14 h 559"/>
                <a:gd name="T100" fmla="*/ 577 w 624"/>
                <a:gd name="T101" fmla="*/ 22 h 559"/>
                <a:gd name="T102" fmla="*/ 596 w 624"/>
                <a:gd name="T103" fmla="*/ 26 h 559"/>
                <a:gd name="T104" fmla="*/ 624 w 624"/>
                <a:gd name="T105" fmla="*/ 34 h 559"/>
                <a:gd name="T106" fmla="*/ 624 w 624"/>
                <a:gd name="T107" fmla="*/ 34 h 559"/>
                <a:gd name="T108" fmla="*/ 623 w 624"/>
                <a:gd name="T109" fmla="*/ 50 h 559"/>
                <a:gd name="T110" fmla="*/ 577 w 624"/>
                <a:gd name="T111" fmla="*/ 559 h 559"/>
                <a:gd name="T112" fmla="*/ 322 w 624"/>
                <a:gd name="T113" fmla="*/ 298 h 559"/>
                <a:gd name="T114" fmla="*/ 242 w 624"/>
                <a:gd name="T115" fmla="*/ 379 h 559"/>
                <a:gd name="T116" fmla="*/ 322 w 624"/>
                <a:gd name="T117" fmla="*/ 460 h 559"/>
                <a:gd name="T118" fmla="*/ 403 w 624"/>
                <a:gd name="T119" fmla="*/ 379 h 559"/>
                <a:gd name="T120" fmla="*/ 322 w 624"/>
                <a:gd name="T121" fmla="*/ 298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4" h="559">
                  <a:moveTo>
                    <a:pt x="577" y="559"/>
                  </a:moveTo>
                  <a:lnTo>
                    <a:pt x="577" y="559"/>
                  </a:lnTo>
                  <a:cubicBezTo>
                    <a:pt x="544" y="544"/>
                    <a:pt x="510" y="532"/>
                    <a:pt x="474" y="523"/>
                  </a:cubicBezTo>
                  <a:cubicBezTo>
                    <a:pt x="426" y="510"/>
                    <a:pt x="375" y="504"/>
                    <a:pt x="323" y="504"/>
                  </a:cubicBezTo>
                  <a:cubicBezTo>
                    <a:pt x="318" y="504"/>
                    <a:pt x="313" y="504"/>
                    <a:pt x="308" y="504"/>
                  </a:cubicBezTo>
                  <a:cubicBezTo>
                    <a:pt x="289" y="504"/>
                    <a:pt x="271" y="506"/>
                    <a:pt x="253" y="508"/>
                  </a:cubicBezTo>
                  <a:lnTo>
                    <a:pt x="253" y="508"/>
                  </a:lnTo>
                  <a:lnTo>
                    <a:pt x="186" y="441"/>
                  </a:lnTo>
                  <a:lnTo>
                    <a:pt x="149" y="405"/>
                  </a:lnTo>
                  <a:lnTo>
                    <a:pt x="64" y="319"/>
                  </a:lnTo>
                  <a:lnTo>
                    <a:pt x="46" y="301"/>
                  </a:lnTo>
                  <a:lnTo>
                    <a:pt x="0" y="255"/>
                  </a:lnTo>
                  <a:cubicBezTo>
                    <a:pt x="6" y="252"/>
                    <a:pt x="12" y="250"/>
                    <a:pt x="18" y="247"/>
                  </a:cubicBezTo>
                  <a:lnTo>
                    <a:pt x="18" y="35"/>
                  </a:lnTo>
                  <a:cubicBezTo>
                    <a:pt x="27" y="32"/>
                    <a:pt x="36" y="30"/>
                    <a:pt x="44" y="27"/>
                  </a:cubicBezTo>
                  <a:cubicBezTo>
                    <a:pt x="50" y="26"/>
                    <a:pt x="56" y="24"/>
                    <a:pt x="61" y="23"/>
                  </a:cubicBezTo>
                  <a:cubicBezTo>
                    <a:pt x="62" y="23"/>
                    <a:pt x="64" y="22"/>
                    <a:pt x="65" y="22"/>
                  </a:cubicBezTo>
                  <a:cubicBezTo>
                    <a:pt x="68" y="21"/>
                    <a:pt x="71" y="21"/>
                    <a:pt x="74" y="20"/>
                  </a:cubicBezTo>
                  <a:cubicBezTo>
                    <a:pt x="76" y="19"/>
                    <a:pt x="77" y="19"/>
                    <a:pt x="78" y="19"/>
                  </a:cubicBezTo>
                  <a:cubicBezTo>
                    <a:pt x="82" y="18"/>
                    <a:pt x="87" y="17"/>
                    <a:pt x="92" y="16"/>
                  </a:cubicBezTo>
                  <a:cubicBezTo>
                    <a:pt x="93" y="16"/>
                    <a:pt x="94" y="15"/>
                    <a:pt x="95" y="15"/>
                  </a:cubicBezTo>
                  <a:cubicBezTo>
                    <a:pt x="97" y="15"/>
                    <a:pt x="98" y="15"/>
                    <a:pt x="100" y="14"/>
                  </a:cubicBezTo>
                  <a:cubicBezTo>
                    <a:pt x="101" y="14"/>
                    <a:pt x="103" y="14"/>
                    <a:pt x="104" y="14"/>
                  </a:cubicBezTo>
                  <a:cubicBezTo>
                    <a:pt x="108" y="13"/>
                    <a:pt x="112" y="12"/>
                    <a:pt x="116" y="11"/>
                  </a:cubicBezTo>
                  <a:cubicBezTo>
                    <a:pt x="125" y="10"/>
                    <a:pt x="134" y="8"/>
                    <a:pt x="143" y="7"/>
                  </a:cubicBezTo>
                  <a:cubicBezTo>
                    <a:pt x="151" y="6"/>
                    <a:pt x="159" y="4"/>
                    <a:pt x="167" y="3"/>
                  </a:cubicBezTo>
                  <a:cubicBezTo>
                    <a:pt x="171" y="3"/>
                    <a:pt x="175" y="2"/>
                    <a:pt x="179" y="2"/>
                  </a:cubicBezTo>
                  <a:cubicBezTo>
                    <a:pt x="183" y="2"/>
                    <a:pt x="188" y="1"/>
                    <a:pt x="193" y="1"/>
                  </a:cubicBezTo>
                  <a:lnTo>
                    <a:pt x="193" y="1"/>
                  </a:lnTo>
                  <a:cubicBezTo>
                    <a:pt x="218" y="64"/>
                    <a:pt x="243" y="126"/>
                    <a:pt x="268" y="188"/>
                  </a:cubicBezTo>
                  <a:lnTo>
                    <a:pt x="268" y="188"/>
                  </a:lnTo>
                  <a:cubicBezTo>
                    <a:pt x="269" y="189"/>
                    <a:pt x="269" y="189"/>
                    <a:pt x="269" y="190"/>
                  </a:cubicBezTo>
                  <a:cubicBezTo>
                    <a:pt x="270" y="192"/>
                    <a:pt x="271" y="194"/>
                    <a:pt x="272" y="196"/>
                  </a:cubicBezTo>
                  <a:lnTo>
                    <a:pt x="373" y="196"/>
                  </a:lnTo>
                  <a:lnTo>
                    <a:pt x="373" y="196"/>
                  </a:lnTo>
                  <a:cubicBezTo>
                    <a:pt x="381" y="177"/>
                    <a:pt x="388" y="157"/>
                    <a:pt x="396" y="138"/>
                  </a:cubicBezTo>
                  <a:lnTo>
                    <a:pt x="396" y="138"/>
                  </a:lnTo>
                  <a:cubicBezTo>
                    <a:pt x="405" y="115"/>
                    <a:pt x="414" y="93"/>
                    <a:pt x="423" y="70"/>
                  </a:cubicBezTo>
                  <a:cubicBezTo>
                    <a:pt x="425" y="65"/>
                    <a:pt x="427" y="61"/>
                    <a:pt x="429" y="56"/>
                  </a:cubicBezTo>
                  <a:cubicBezTo>
                    <a:pt x="433" y="47"/>
                    <a:pt x="436" y="38"/>
                    <a:pt x="440" y="29"/>
                  </a:cubicBezTo>
                  <a:lnTo>
                    <a:pt x="440" y="29"/>
                  </a:lnTo>
                  <a:cubicBezTo>
                    <a:pt x="444" y="20"/>
                    <a:pt x="448" y="10"/>
                    <a:pt x="451" y="0"/>
                  </a:cubicBezTo>
                  <a:lnTo>
                    <a:pt x="451" y="0"/>
                  </a:lnTo>
                  <a:lnTo>
                    <a:pt x="451" y="0"/>
                  </a:lnTo>
                  <a:cubicBezTo>
                    <a:pt x="463" y="2"/>
                    <a:pt x="475" y="3"/>
                    <a:pt x="487" y="5"/>
                  </a:cubicBezTo>
                  <a:cubicBezTo>
                    <a:pt x="492" y="5"/>
                    <a:pt x="496" y="6"/>
                    <a:pt x="501" y="7"/>
                  </a:cubicBezTo>
                  <a:cubicBezTo>
                    <a:pt x="508" y="8"/>
                    <a:pt x="515" y="9"/>
                    <a:pt x="522" y="10"/>
                  </a:cubicBezTo>
                  <a:cubicBezTo>
                    <a:pt x="523" y="10"/>
                    <a:pt x="525" y="11"/>
                    <a:pt x="527" y="11"/>
                  </a:cubicBezTo>
                  <a:cubicBezTo>
                    <a:pt x="529" y="11"/>
                    <a:pt x="532" y="12"/>
                    <a:pt x="535" y="12"/>
                  </a:cubicBezTo>
                  <a:cubicBezTo>
                    <a:pt x="537" y="13"/>
                    <a:pt x="539" y="13"/>
                    <a:pt x="540" y="14"/>
                  </a:cubicBezTo>
                  <a:cubicBezTo>
                    <a:pt x="553" y="16"/>
                    <a:pt x="565" y="19"/>
                    <a:pt x="577" y="22"/>
                  </a:cubicBezTo>
                  <a:cubicBezTo>
                    <a:pt x="583" y="23"/>
                    <a:pt x="590" y="25"/>
                    <a:pt x="596" y="26"/>
                  </a:cubicBezTo>
                  <a:cubicBezTo>
                    <a:pt x="605" y="29"/>
                    <a:pt x="614" y="31"/>
                    <a:pt x="624" y="34"/>
                  </a:cubicBezTo>
                  <a:lnTo>
                    <a:pt x="624" y="34"/>
                  </a:lnTo>
                  <a:cubicBezTo>
                    <a:pt x="624" y="39"/>
                    <a:pt x="623" y="44"/>
                    <a:pt x="623" y="50"/>
                  </a:cubicBezTo>
                  <a:lnTo>
                    <a:pt x="577" y="559"/>
                  </a:lnTo>
                  <a:moveTo>
                    <a:pt x="322" y="298"/>
                  </a:moveTo>
                  <a:cubicBezTo>
                    <a:pt x="278" y="298"/>
                    <a:pt x="242" y="334"/>
                    <a:pt x="242" y="379"/>
                  </a:cubicBezTo>
                  <a:cubicBezTo>
                    <a:pt x="242" y="423"/>
                    <a:pt x="278" y="460"/>
                    <a:pt x="322" y="460"/>
                  </a:cubicBezTo>
                  <a:cubicBezTo>
                    <a:pt x="367" y="460"/>
                    <a:pt x="403" y="423"/>
                    <a:pt x="403" y="379"/>
                  </a:cubicBezTo>
                  <a:cubicBezTo>
                    <a:pt x="403" y="334"/>
                    <a:pt x="367" y="298"/>
                    <a:pt x="322" y="298"/>
                  </a:cubicBezTo>
                  <a:close/>
                </a:path>
              </a:pathLst>
            </a:custGeom>
            <a:solidFill>
              <a:srgbClr val="7B8B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97">
              <a:extLst>
                <a:ext uri="{FF2B5EF4-FFF2-40B4-BE49-F238E27FC236}">
                  <a16:creationId xmlns:a16="http://schemas.microsoft.com/office/drawing/2014/main" id="{C8DE15B4-C6A7-30AB-1B07-DF8FA00DC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4575" y="3233738"/>
              <a:ext cx="65088" cy="69850"/>
            </a:xfrm>
            <a:custGeom>
              <a:avLst/>
              <a:gdLst>
                <a:gd name="T0" fmla="*/ 36 w 143"/>
                <a:gd name="T1" fmla="*/ 153 h 153"/>
                <a:gd name="T2" fmla="*/ 35 w 143"/>
                <a:gd name="T3" fmla="*/ 153 h 153"/>
                <a:gd name="T4" fmla="*/ 20 w 143"/>
                <a:gd name="T5" fmla="*/ 145 h 153"/>
                <a:gd name="T6" fmla="*/ 13 w 143"/>
                <a:gd name="T7" fmla="*/ 140 h 153"/>
                <a:gd name="T8" fmla="*/ 6 w 143"/>
                <a:gd name="T9" fmla="*/ 134 h 153"/>
                <a:gd name="T10" fmla="*/ 6 w 143"/>
                <a:gd name="T11" fmla="*/ 134 h 153"/>
                <a:gd name="T12" fmla="*/ 0 w 143"/>
                <a:gd name="T13" fmla="*/ 127 h 153"/>
                <a:gd name="T14" fmla="*/ 0 w 143"/>
                <a:gd name="T15" fmla="*/ 127 h 153"/>
                <a:gd name="T16" fmla="*/ 10 w 143"/>
                <a:gd name="T17" fmla="*/ 16 h 153"/>
                <a:gd name="T18" fmla="*/ 10 w 143"/>
                <a:gd name="T19" fmla="*/ 16 h 153"/>
                <a:gd name="T20" fmla="*/ 10 w 143"/>
                <a:gd name="T21" fmla="*/ 16 h 153"/>
                <a:gd name="T22" fmla="*/ 13 w 143"/>
                <a:gd name="T23" fmla="*/ 17 h 153"/>
                <a:gd name="T24" fmla="*/ 55 w 143"/>
                <a:gd name="T25" fmla="*/ 38 h 153"/>
                <a:gd name="T26" fmla="*/ 60 w 143"/>
                <a:gd name="T27" fmla="*/ 39 h 153"/>
                <a:gd name="T28" fmla="*/ 70 w 143"/>
                <a:gd name="T29" fmla="*/ 32 h 153"/>
                <a:gd name="T30" fmla="*/ 80 w 143"/>
                <a:gd name="T31" fmla="*/ 11 h 153"/>
                <a:gd name="T32" fmla="*/ 86 w 143"/>
                <a:gd name="T33" fmla="*/ 0 h 153"/>
                <a:gd name="T34" fmla="*/ 86 w 143"/>
                <a:gd name="T35" fmla="*/ 0 h 153"/>
                <a:gd name="T36" fmla="*/ 133 w 143"/>
                <a:gd name="T37" fmla="*/ 37 h 153"/>
                <a:gd name="T38" fmla="*/ 143 w 143"/>
                <a:gd name="T39" fmla="*/ 77 h 153"/>
                <a:gd name="T40" fmla="*/ 142 w 143"/>
                <a:gd name="T41" fmla="*/ 91 h 153"/>
                <a:gd name="T42" fmla="*/ 142 w 143"/>
                <a:gd name="T43" fmla="*/ 91 h 153"/>
                <a:gd name="T44" fmla="*/ 36 w 143"/>
                <a:gd name="T4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3" h="153">
                  <a:moveTo>
                    <a:pt x="36" y="153"/>
                  </a:moveTo>
                  <a:cubicBezTo>
                    <a:pt x="36" y="153"/>
                    <a:pt x="36" y="153"/>
                    <a:pt x="35" y="153"/>
                  </a:cubicBezTo>
                  <a:cubicBezTo>
                    <a:pt x="30" y="151"/>
                    <a:pt x="25" y="148"/>
                    <a:pt x="20" y="145"/>
                  </a:cubicBezTo>
                  <a:cubicBezTo>
                    <a:pt x="18" y="144"/>
                    <a:pt x="15" y="142"/>
                    <a:pt x="13" y="140"/>
                  </a:cubicBezTo>
                  <a:cubicBezTo>
                    <a:pt x="11" y="138"/>
                    <a:pt x="8" y="136"/>
                    <a:pt x="6" y="134"/>
                  </a:cubicBezTo>
                  <a:lnTo>
                    <a:pt x="6" y="134"/>
                  </a:lnTo>
                  <a:cubicBezTo>
                    <a:pt x="4" y="132"/>
                    <a:pt x="2" y="130"/>
                    <a:pt x="0" y="127"/>
                  </a:cubicBezTo>
                  <a:lnTo>
                    <a:pt x="0" y="12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3" y="17"/>
                  </a:lnTo>
                  <a:cubicBezTo>
                    <a:pt x="27" y="24"/>
                    <a:pt x="41" y="31"/>
                    <a:pt x="55" y="38"/>
                  </a:cubicBezTo>
                  <a:cubicBezTo>
                    <a:pt x="57" y="38"/>
                    <a:pt x="59" y="39"/>
                    <a:pt x="60" y="39"/>
                  </a:cubicBezTo>
                  <a:cubicBezTo>
                    <a:pt x="64" y="39"/>
                    <a:pt x="67" y="36"/>
                    <a:pt x="70" y="32"/>
                  </a:cubicBezTo>
                  <a:cubicBezTo>
                    <a:pt x="73" y="25"/>
                    <a:pt x="76" y="18"/>
                    <a:pt x="80" y="11"/>
                  </a:cubicBezTo>
                  <a:cubicBezTo>
                    <a:pt x="82" y="8"/>
                    <a:pt x="84" y="4"/>
                    <a:pt x="86" y="0"/>
                  </a:cubicBezTo>
                  <a:lnTo>
                    <a:pt x="86" y="0"/>
                  </a:lnTo>
                  <a:cubicBezTo>
                    <a:pt x="105" y="5"/>
                    <a:pt x="122" y="18"/>
                    <a:pt x="133" y="37"/>
                  </a:cubicBezTo>
                  <a:cubicBezTo>
                    <a:pt x="140" y="49"/>
                    <a:pt x="143" y="63"/>
                    <a:pt x="143" y="77"/>
                  </a:cubicBezTo>
                  <a:cubicBezTo>
                    <a:pt x="143" y="81"/>
                    <a:pt x="143" y="86"/>
                    <a:pt x="142" y="91"/>
                  </a:cubicBezTo>
                  <a:lnTo>
                    <a:pt x="142" y="91"/>
                  </a:lnTo>
                  <a:cubicBezTo>
                    <a:pt x="105" y="108"/>
                    <a:pt x="69" y="129"/>
                    <a:pt x="36" y="153"/>
                  </a:cubicBezTo>
                </a:path>
              </a:pathLst>
            </a:custGeom>
            <a:solidFill>
              <a:srgbClr val="1E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98">
              <a:extLst>
                <a:ext uri="{FF2B5EF4-FFF2-40B4-BE49-F238E27FC236}">
                  <a16:creationId xmlns:a16="http://schemas.microsoft.com/office/drawing/2014/main" id="{7E5BD06A-5B65-6071-AD8D-6753F3CCC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9813" y="3232150"/>
              <a:ext cx="34925" cy="19050"/>
            </a:xfrm>
            <a:custGeom>
              <a:avLst/>
              <a:gdLst>
                <a:gd name="T0" fmla="*/ 50 w 76"/>
                <a:gd name="T1" fmla="*/ 43 h 43"/>
                <a:gd name="T2" fmla="*/ 45 w 76"/>
                <a:gd name="T3" fmla="*/ 42 h 43"/>
                <a:gd name="T4" fmla="*/ 3 w 76"/>
                <a:gd name="T5" fmla="*/ 21 h 43"/>
                <a:gd name="T6" fmla="*/ 0 w 76"/>
                <a:gd name="T7" fmla="*/ 20 h 43"/>
                <a:gd name="T8" fmla="*/ 12 w 76"/>
                <a:gd name="T9" fmla="*/ 11 h 43"/>
                <a:gd name="T10" fmla="*/ 53 w 76"/>
                <a:gd name="T11" fmla="*/ 0 h 43"/>
                <a:gd name="T12" fmla="*/ 76 w 76"/>
                <a:gd name="T13" fmla="*/ 4 h 43"/>
                <a:gd name="T14" fmla="*/ 70 w 76"/>
                <a:gd name="T15" fmla="*/ 15 h 43"/>
                <a:gd name="T16" fmla="*/ 60 w 76"/>
                <a:gd name="T17" fmla="*/ 36 h 43"/>
                <a:gd name="T18" fmla="*/ 50 w 76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43">
                  <a:moveTo>
                    <a:pt x="50" y="43"/>
                  </a:moveTo>
                  <a:cubicBezTo>
                    <a:pt x="49" y="43"/>
                    <a:pt x="47" y="42"/>
                    <a:pt x="45" y="42"/>
                  </a:cubicBezTo>
                  <a:cubicBezTo>
                    <a:pt x="31" y="35"/>
                    <a:pt x="17" y="28"/>
                    <a:pt x="3" y="21"/>
                  </a:cubicBezTo>
                  <a:lnTo>
                    <a:pt x="0" y="20"/>
                  </a:lnTo>
                  <a:cubicBezTo>
                    <a:pt x="4" y="16"/>
                    <a:pt x="8" y="14"/>
                    <a:pt x="12" y="11"/>
                  </a:cubicBezTo>
                  <a:cubicBezTo>
                    <a:pt x="25" y="4"/>
                    <a:pt x="39" y="0"/>
                    <a:pt x="53" y="0"/>
                  </a:cubicBezTo>
                  <a:cubicBezTo>
                    <a:pt x="61" y="0"/>
                    <a:pt x="68" y="1"/>
                    <a:pt x="76" y="4"/>
                  </a:cubicBezTo>
                  <a:cubicBezTo>
                    <a:pt x="74" y="8"/>
                    <a:pt x="72" y="12"/>
                    <a:pt x="70" y="15"/>
                  </a:cubicBezTo>
                  <a:cubicBezTo>
                    <a:pt x="66" y="22"/>
                    <a:pt x="63" y="29"/>
                    <a:pt x="60" y="36"/>
                  </a:cubicBezTo>
                  <a:cubicBezTo>
                    <a:pt x="57" y="40"/>
                    <a:pt x="54" y="43"/>
                    <a:pt x="50" y="43"/>
                  </a:cubicBezTo>
                </a:path>
              </a:pathLst>
            </a:custGeom>
            <a:solidFill>
              <a:srgbClr val="5E5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99">
              <a:extLst>
                <a:ext uri="{FF2B5EF4-FFF2-40B4-BE49-F238E27FC236}">
                  <a16:creationId xmlns:a16="http://schemas.microsoft.com/office/drawing/2014/main" id="{0EDC3707-4610-1380-F799-2084C726D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08700" y="3275013"/>
              <a:ext cx="49213" cy="30163"/>
            </a:xfrm>
            <a:custGeom>
              <a:avLst/>
              <a:gdLst>
                <a:gd name="T0" fmla="*/ 27 w 106"/>
                <a:gd name="T1" fmla="*/ 67 h 67"/>
                <a:gd name="T2" fmla="*/ 19 w 106"/>
                <a:gd name="T3" fmla="*/ 66 h 67"/>
                <a:gd name="T4" fmla="*/ 17 w 106"/>
                <a:gd name="T5" fmla="*/ 66 h 67"/>
                <a:gd name="T6" fmla="*/ 10 w 106"/>
                <a:gd name="T7" fmla="*/ 65 h 67"/>
                <a:gd name="T8" fmla="*/ 0 w 106"/>
                <a:gd name="T9" fmla="*/ 62 h 67"/>
                <a:gd name="T10" fmla="*/ 106 w 106"/>
                <a:gd name="T11" fmla="*/ 0 h 67"/>
                <a:gd name="T12" fmla="*/ 106 w 106"/>
                <a:gd name="T13" fmla="*/ 0 h 67"/>
                <a:gd name="T14" fmla="*/ 67 w 106"/>
                <a:gd name="T15" fmla="*/ 56 h 67"/>
                <a:gd name="T16" fmla="*/ 27 w 106"/>
                <a:gd name="T1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67">
                  <a:moveTo>
                    <a:pt x="27" y="67"/>
                  </a:moveTo>
                  <a:cubicBezTo>
                    <a:pt x="24" y="67"/>
                    <a:pt x="21" y="66"/>
                    <a:pt x="19" y="66"/>
                  </a:cubicBezTo>
                  <a:lnTo>
                    <a:pt x="17" y="66"/>
                  </a:lnTo>
                  <a:cubicBezTo>
                    <a:pt x="14" y="66"/>
                    <a:pt x="12" y="65"/>
                    <a:pt x="10" y="65"/>
                  </a:cubicBezTo>
                  <a:cubicBezTo>
                    <a:pt x="6" y="64"/>
                    <a:pt x="3" y="63"/>
                    <a:pt x="0" y="62"/>
                  </a:cubicBezTo>
                  <a:cubicBezTo>
                    <a:pt x="33" y="38"/>
                    <a:pt x="69" y="17"/>
                    <a:pt x="106" y="0"/>
                  </a:cubicBezTo>
                  <a:lnTo>
                    <a:pt x="106" y="0"/>
                  </a:lnTo>
                  <a:cubicBezTo>
                    <a:pt x="102" y="23"/>
                    <a:pt x="89" y="43"/>
                    <a:pt x="67" y="56"/>
                  </a:cubicBezTo>
                  <a:cubicBezTo>
                    <a:pt x="54" y="63"/>
                    <a:pt x="41" y="67"/>
                    <a:pt x="27" y="67"/>
                  </a:cubicBezTo>
                </a:path>
              </a:pathLst>
            </a:custGeom>
            <a:solidFill>
              <a:srgbClr val="4E4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00">
              <a:extLst>
                <a:ext uri="{FF2B5EF4-FFF2-40B4-BE49-F238E27FC236}">
                  <a16:creationId xmlns:a16="http://schemas.microsoft.com/office/drawing/2014/main" id="{7F88573B-DD48-A0CF-82B8-B4C7EFB1A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24575" y="3268663"/>
              <a:ext cx="65088" cy="36513"/>
            </a:xfrm>
            <a:custGeom>
              <a:avLst/>
              <a:gdLst>
                <a:gd name="T0" fmla="*/ 63 w 143"/>
                <a:gd name="T1" fmla="*/ 81 h 81"/>
                <a:gd name="T2" fmla="*/ 55 w 143"/>
                <a:gd name="T3" fmla="*/ 80 h 81"/>
                <a:gd name="T4" fmla="*/ 53 w 143"/>
                <a:gd name="T5" fmla="*/ 80 h 81"/>
                <a:gd name="T6" fmla="*/ 46 w 143"/>
                <a:gd name="T7" fmla="*/ 79 h 81"/>
                <a:gd name="T8" fmla="*/ 35 w 143"/>
                <a:gd name="T9" fmla="*/ 76 h 81"/>
                <a:gd name="T10" fmla="*/ 20 w 143"/>
                <a:gd name="T11" fmla="*/ 68 h 81"/>
                <a:gd name="T12" fmla="*/ 13 w 143"/>
                <a:gd name="T13" fmla="*/ 63 h 81"/>
                <a:gd name="T14" fmla="*/ 6 w 143"/>
                <a:gd name="T15" fmla="*/ 57 h 81"/>
                <a:gd name="T16" fmla="*/ 6 w 143"/>
                <a:gd name="T17" fmla="*/ 57 h 81"/>
                <a:gd name="T18" fmla="*/ 0 w 143"/>
                <a:gd name="T19" fmla="*/ 50 h 81"/>
                <a:gd name="T20" fmla="*/ 0 w 143"/>
                <a:gd name="T21" fmla="*/ 50 h 81"/>
                <a:gd name="T22" fmla="*/ 6 w 143"/>
                <a:gd name="T23" fmla="*/ 57 h 81"/>
                <a:gd name="T24" fmla="*/ 6 w 143"/>
                <a:gd name="T25" fmla="*/ 57 h 81"/>
                <a:gd name="T26" fmla="*/ 13 w 143"/>
                <a:gd name="T27" fmla="*/ 63 h 81"/>
                <a:gd name="T28" fmla="*/ 20 w 143"/>
                <a:gd name="T29" fmla="*/ 68 h 81"/>
                <a:gd name="T30" fmla="*/ 35 w 143"/>
                <a:gd name="T31" fmla="*/ 76 h 81"/>
                <a:gd name="T32" fmla="*/ 36 w 143"/>
                <a:gd name="T33" fmla="*/ 76 h 81"/>
                <a:gd name="T34" fmla="*/ 46 w 143"/>
                <a:gd name="T35" fmla="*/ 79 h 81"/>
                <a:gd name="T36" fmla="*/ 53 w 143"/>
                <a:gd name="T37" fmla="*/ 80 h 81"/>
                <a:gd name="T38" fmla="*/ 55 w 143"/>
                <a:gd name="T39" fmla="*/ 80 h 81"/>
                <a:gd name="T40" fmla="*/ 63 w 143"/>
                <a:gd name="T41" fmla="*/ 81 h 81"/>
                <a:gd name="T42" fmla="*/ 103 w 143"/>
                <a:gd name="T43" fmla="*/ 70 h 81"/>
                <a:gd name="T44" fmla="*/ 142 w 143"/>
                <a:gd name="T45" fmla="*/ 14 h 81"/>
                <a:gd name="T46" fmla="*/ 142 w 143"/>
                <a:gd name="T47" fmla="*/ 14 h 81"/>
                <a:gd name="T48" fmla="*/ 142 w 143"/>
                <a:gd name="T49" fmla="*/ 14 h 81"/>
                <a:gd name="T50" fmla="*/ 143 w 143"/>
                <a:gd name="T51" fmla="*/ 0 h 81"/>
                <a:gd name="T52" fmla="*/ 142 w 143"/>
                <a:gd name="T53" fmla="*/ 14 h 81"/>
                <a:gd name="T54" fmla="*/ 142 w 143"/>
                <a:gd name="T55" fmla="*/ 14 h 81"/>
                <a:gd name="T56" fmla="*/ 103 w 143"/>
                <a:gd name="T57" fmla="*/ 70 h 81"/>
                <a:gd name="T58" fmla="*/ 63 w 143"/>
                <a:gd name="T5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3" h="81">
                  <a:moveTo>
                    <a:pt x="63" y="81"/>
                  </a:moveTo>
                  <a:cubicBezTo>
                    <a:pt x="60" y="81"/>
                    <a:pt x="57" y="80"/>
                    <a:pt x="55" y="80"/>
                  </a:cubicBezTo>
                  <a:lnTo>
                    <a:pt x="53" y="80"/>
                  </a:lnTo>
                  <a:cubicBezTo>
                    <a:pt x="50" y="80"/>
                    <a:pt x="48" y="79"/>
                    <a:pt x="46" y="79"/>
                  </a:cubicBezTo>
                  <a:cubicBezTo>
                    <a:pt x="42" y="78"/>
                    <a:pt x="39" y="77"/>
                    <a:pt x="35" y="76"/>
                  </a:cubicBezTo>
                  <a:cubicBezTo>
                    <a:pt x="30" y="74"/>
                    <a:pt x="25" y="71"/>
                    <a:pt x="20" y="68"/>
                  </a:cubicBezTo>
                  <a:cubicBezTo>
                    <a:pt x="18" y="67"/>
                    <a:pt x="15" y="65"/>
                    <a:pt x="13" y="63"/>
                  </a:cubicBezTo>
                  <a:cubicBezTo>
                    <a:pt x="11" y="61"/>
                    <a:pt x="8" y="59"/>
                    <a:pt x="6" y="57"/>
                  </a:cubicBezTo>
                  <a:lnTo>
                    <a:pt x="6" y="57"/>
                  </a:lnTo>
                  <a:cubicBezTo>
                    <a:pt x="4" y="55"/>
                    <a:pt x="2" y="53"/>
                    <a:pt x="0" y="50"/>
                  </a:cubicBezTo>
                  <a:lnTo>
                    <a:pt x="0" y="50"/>
                  </a:lnTo>
                  <a:cubicBezTo>
                    <a:pt x="2" y="53"/>
                    <a:pt x="4" y="55"/>
                    <a:pt x="6" y="57"/>
                  </a:cubicBezTo>
                  <a:lnTo>
                    <a:pt x="6" y="57"/>
                  </a:lnTo>
                  <a:cubicBezTo>
                    <a:pt x="8" y="59"/>
                    <a:pt x="11" y="61"/>
                    <a:pt x="13" y="63"/>
                  </a:cubicBezTo>
                  <a:cubicBezTo>
                    <a:pt x="15" y="65"/>
                    <a:pt x="18" y="67"/>
                    <a:pt x="20" y="68"/>
                  </a:cubicBezTo>
                  <a:cubicBezTo>
                    <a:pt x="25" y="71"/>
                    <a:pt x="30" y="74"/>
                    <a:pt x="35" y="76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9" y="77"/>
                    <a:pt x="42" y="78"/>
                    <a:pt x="46" y="79"/>
                  </a:cubicBezTo>
                  <a:cubicBezTo>
                    <a:pt x="48" y="79"/>
                    <a:pt x="50" y="80"/>
                    <a:pt x="53" y="80"/>
                  </a:cubicBezTo>
                  <a:lnTo>
                    <a:pt x="55" y="80"/>
                  </a:lnTo>
                  <a:cubicBezTo>
                    <a:pt x="57" y="80"/>
                    <a:pt x="60" y="81"/>
                    <a:pt x="63" y="81"/>
                  </a:cubicBezTo>
                  <a:cubicBezTo>
                    <a:pt x="77" y="81"/>
                    <a:pt x="90" y="77"/>
                    <a:pt x="103" y="70"/>
                  </a:cubicBezTo>
                  <a:cubicBezTo>
                    <a:pt x="125" y="57"/>
                    <a:pt x="138" y="37"/>
                    <a:pt x="142" y="14"/>
                  </a:cubicBezTo>
                  <a:lnTo>
                    <a:pt x="142" y="14"/>
                  </a:lnTo>
                  <a:lnTo>
                    <a:pt x="142" y="14"/>
                  </a:lnTo>
                  <a:cubicBezTo>
                    <a:pt x="143" y="9"/>
                    <a:pt x="143" y="4"/>
                    <a:pt x="143" y="0"/>
                  </a:cubicBezTo>
                  <a:cubicBezTo>
                    <a:pt x="143" y="4"/>
                    <a:pt x="143" y="9"/>
                    <a:pt x="142" y="14"/>
                  </a:cubicBezTo>
                  <a:lnTo>
                    <a:pt x="142" y="14"/>
                  </a:lnTo>
                  <a:cubicBezTo>
                    <a:pt x="138" y="37"/>
                    <a:pt x="125" y="57"/>
                    <a:pt x="103" y="70"/>
                  </a:cubicBezTo>
                  <a:cubicBezTo>
                    <a:pt x="90" y="77"/>
                    <a:pt x="77" y="81"/>
                    <a:pt x="63" y="81"/>
                  </a:cubicBezTo>
                </a:path>
              </a:pathLst>
            </a:custGeom>
            <a:solidFill>
              <a:srgbClr val="7B8B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01">
              <a:extLst>
                <a:ext uri="{FF2B5EF4-FFF2-40B4-BE49-F238E27FC236}">
                  <a16:creationId xmlns:a16="http://schemas.microsoft.com/office/drawing/2014/main" id="{02173DB9-CB71-C89A-317E-F85B1966F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89650" y="3167063"/>
              <a:ext cx="12700" cy="6350"/>
            </a:xfrm>
            <a:custGeom>
              <a:avLst/>
              <a:gdLst>
                <a:gd name="T0" fmla="*/ 0 w 31"/>
                <a:gd name="T1" fmla="*/ 13 h 13"/>
                <a:gd name="T2" fmla="*/ 0 w 31"/>
                <a:gd name="T3" fmla="*/ 13 h 13"/>
                <a:gd name="T4" fmla="*/ 0 w 31"/>
                <a:gd name="T5" fmla="*/ 13 h 13"/>
                <a:gd name="T6" fmla="*/ 31 w 31"/>
                <a:gd name="T7" fmla="*/ 0 h 13"/>
                <a:gd name="T8" fmla="*/ 0 w 3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3">
                  <a:moveTo>
                    <a:pt x="0" y="13"/>
                  </a:moveTo>
                  <a:lnTo>
                    <a:pt x="0" y="13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10" y="8"/>
                    <a:pt x="21" y="4"/>
                    <a:pt x="31" y="0"/>
                  </a:cubicBezTo>
                  <a:cubicBezTo>
                    <a:pt x="21" y="4"/>
                    <a:pt x="10" y="8"/>
                    <a:pt x="0" y="13"/>
                  </a:cubicBezTo>
                  <a:close/>
                </a:path>
              </a:pathLst>
            </a:custGeom>
            <a:solidFill>
              <a:srgbClr val="1E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02">
              <a:extLst>
                <a:ext uri="{FF2B5EF4-FFF2-40B4-BE49-F238E27FC236}">
                  <a16:creationId xmlns:a16="http://schemas.microsoft.com/office/drawing/2014/main" id="{8BC45CF4-B947-B5B0-071C-F7B441888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02350" y="3173413"/>
              <a:ext cx="12700" cy="4763"/>
            </a:xfrm>
            <a:custGeom>
              <a:avLst/>
              <a:gdLst>
                <a:gd name="T0" fmla="*/ 0 w 28"/>
                <a:gd name="T1" fmla="*/ 11 h 11"/>
                <a:gd name="T2" fmla="*/ 28 w 28"/>
                <a:gd name="T3" fmla="*/ 0 h 11"/>
                <a:gd name="T4" fmla="*/ 28 w 28"/>
                <a:gd name="T5" fmla="*/ 0 h 11"/>
                <a:gd name="T6" fmla="*/ 28 w 28"/>
                <a:gd name="T7" fmla="*/ 0 h 11"/>
                <a:gd name="T8" fmla="*/ 28 w 28"/>
                <a:gd name="T9" fmla="*/ 0 h 11"/>
                <a:gd name="T10" fmla="*/ 0 w 28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1">
                  <a:moveTo>
                    <a:pt x="0" y="11"/>
                  </a:moveTo>
                  <a:cubicBezTo>
                    <a:pt x="10" y="7"/>
                    <a:pt x="19" y="4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0"/>
                  </a:lnTo>
                  <a:lnTo>
                    <a:pt x="28" y="0"/>
                  </a:lnTo>
                  <a:cubicBezTo>
                    <a:pt x="19" y="4"/>
                    <a:pt x="10" y="7"/>
                    <a:pt x="0" y="11"/>
                  </a:cubicBezTo>
                </a:path>
              </a:pathLst>
            </a:custGeom>
            <a:solidFill>
              <a:srgbClr val="5E5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03">
              <a:extLst>
                <a:ext uri="{FF2B5EF4-FFF2-40B4-BE49-F238E27FC236}">
                  <a16:creationId xmlns:a16="http://schemas.microsoft.com/office/drawing/2014/main" id="{69182EFF-7692-ADD9-49B1-8333EF2CF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0925" y="3167063"/>
              <a:ext cx="168275" cy="201613"/>
            </a:xfrm>
            <a:custGeom>
              <a:avLst/>
              <a:gdLst>
                <a:gd name="T0" fmla="*/ 0 w 375"/>
                <a:gd name="T1" fmla="*/ 441 h 441"/>
                <a:gd name="T2" fmla="*/ 16 w 375"/>
                <a:gd name="T3" fmla="*/ 272 h 441"/>
                <a:gd name="T4" fmla="*/ 16 w 375"/>
                <a:gd name="T5" fmla="*/ 272 h 441"/>
                <a:gd name="T6" fmla="*/ 22 w 375"/>
                <a:gd name="T7" fmla="*/ 279 h 441"/>
                <a:gd name="T8" fmla="*/ 22 w 375"/>
                <a:gd name="T9" fmla="*/ 279 h 441"/>
                <a:gd name="T10" fmla="*/ 29 w 375"/>
                <a:gd name="T11" fmla="*/ 285 h 441"/>
                <a:gd name="T12" fmla="*/ 36 w 375"/>
                <a:gd name="T13" fmla="*/ 290 h 441"/>
                <a:gd name="T14" fmla="*/ 51 w 375"/>
                <a:gd name="T15" fmla="*/ 298 h 441"/>
                <a:gd name="T16" fmla="*/ 62 w 375"/>
                <a:gd name="T17" fmla="*/ 301 h 441"/>
                <a:gd name="T18" fmla="*/ 69 w 375"/>
                <a:gd name="T19" fmla="*/ 302 h 441"/>
                <a:gd name="T20" fmla="*/ 71 w 375"/>
                <a:gd name="T21" fmla="*/ 302 h 441"/>
                <a:gd name="T22" fmla="*/ 79 w 375"/>
                <a:gd name="T23" fmla="*/ 303 h 441"/>
                <a:gd name="T24" fmla="*/ 119 w 375"/>
                <a:gd name="T25" fmla="*/ 292 h 441"/>
                <a:gd name="T26" fmla="*/ 158 w 375"/>
                <a:gd name="T27" fmla="*/ 236 h 441"/>
                <a:gd name="T28" fmla="*/ 158 w 375"/>
                <a:gd name="T29" fmla="*/ 236 h 441"/>
                <a:gd name="T30" fmla="*/ 159 w 375"/>
                <a:gd name="T31" fmla="*/ 222 h 441"/>
                <a:gd name="T32" fmla="*/ 149 w 375"/>
                <a:gd name="T33" fmla="*/ 182 h 441"/>
                <a:gd name="T34" fmla="*/ 102 w 375"/>
                <a:gd name="T35" fmla="*/ 145 h 441"/>
                <a:gd name="T36" fmla="*/ 102 w 375"/>
                <a:gd name="T37" fmla="*/ 145 h 441"/>
                <a:gd name="T38" fmla="*/ 79 w 375"/>
                <a:gd name="T39" fmla="*/ 141 h 441"/>
                <a:gd name="T40" fmla="*/ 38 w 375"/>
                <a:gd name="T41" fmla="*/ 152 h 441"/>
                <a:gd name="T42" fmla="*/ 26 w 375"/>
                <a:gd name="T43" fmla="*/ 161 h 441"/>
                <a:gd name="T44" fmla="*/ 26 w 375"/>
                <a:gd name="T45" fmla="*/ 161 h 441"/>
                <a:gd name="T46" fmla="*/ 26 w 375"/>
                <a:gd name="T47" fmla="*/ 161 h 441"/>
                <a:gd name="T48" fmla="*/ 38 w 375"/>
                <a:gd name="T49" fmla="*/ 24 h 441"/>
                <a:gd name="T50" fmla="*/ 46 w 375"/>
                <a:gd name="T51" fmla="*/ 32 h 441"/>
                <a:gd name="T52" fmla="*/ 63 w 375"/>
                <a:gd name="T53" fmla="*/ 24 h 441"/>
                <a:gd name="T54" fmla="*/ 91 w 375"/>
                <a:gd name="T55" fmla="*/ 13 h 441"/>
                <a:gd name="T56" fmla="*/ 122 w 375"/>
                <a:gd name="T57" fmla="*/ 0 h 441"/>
                <a:gd name="T58" fmla="*/ 122 w 375"/>
                <a:gd name="T59" fmla="*/ 0 h 441"/>
                <a:gd name="T60" fmla="*/ 122 w 375"/>
                <a:gd name="T61" fmla="*/ 0 h 441"/>
                <a:gd name="T62" fmla="*/ 168 w 375"/>
                <a:gd name="T63" fmla="*/ 46 h 441"/>
                <a:gd name="T64" fmla="*/ 186 w 375"/>
                <a:gd name="T65" fmla="*/ 64 h 441"/>
                <a:gd name="T66" fmla="*/ 271 w 375"/>
                <a:gd name="T67" fmla="*/ 150 h 441"/>
                <a:gd name="T68" fmla="*/ 308 w 375"/>
                <a:gd name="T69" fmla="*/ 186 h 441"/>
                <a:gd name="T70" fmla="*/ 375 w 375"/>
                <a:gd name="T71" fmla="*/ 253 h 441"/>
                <a:gd name="T72" fmla="*/ 360 w 375"/>
                <a:gd name="T73" fmla="*/ 255 h 441"/>
                <a:gd name="T74" fmla="*/ 346 w 375"/>
                <a:gd name="T75" fmla="*/ 257 h 441"/>
                <a:gd name="T76" fmla="*/ 332 w 375"/>
                <a:gd name="T77" fmla="*/ 259 h 441"/>
                <a:gd name="T78" fmla="*/ 318 w 375"/>
                <a:gd name="T79" fmla="*/ 262 h 441"/>
                <a:gd name="T80" fmla="*/ 302 w 375"/>
                <a:gd name="T81" fmla="*/ 265 h 441"/>
                <a:gd name="T82" fmla="*/ 277 w 375"/>
                <a:gd name="T83" fmla="*/ 272 h 441"/>
                <a:gd name="T84" fmla="*/ 263 w 375"/>
                <a:gd name="T85" fmla="*/ 276 h 441"/>
                <a:gd name="T86" fmla="*/ 237 w 375"/>
                <a:gd name="T87" fmla="*/ 285 h 441"/>
                <a:gd name="T88" fmla="*/ 198 w 375"/>
                <a:gd name="T89" fmla="*/ 300 h 441"/>
                <a:gd name="T90" fmla="*/ 189 w 375"/>
                <a:gd name="T91" fmla="*/ 304 h 441"/>
                <a:gd name="T92" fmla="*/ 173 w 375"/>
                <a:gd name="T93" fmla="*/ 312 h 441"/>
                <a:gd name="T94" fmla="*/ 163 w 375"/>
                <a:gd name="T95" fmla="*/ 317 h 441"/>
                <a:gd name="T96" fmla="*/ 161 w 375"/>
                <a:gd name="T97" fmla="*/ 318 h 441"/>
                <a:gd name="T98" fmla="*/ 124 w 375"/>
                <a:gd name="T99" fmla="*/ 339 h 441"/>
                <a:gd name="T100" fmla="*/ 113 w 375"/>
                <a:gd name="T101" fmla="*/ 346 h 441"/>
                <a:gd name="T102" fmla="*/ 102 w 375"/>
                <a:gd name="T103" fmla="*/ 354 h 441"/>
                <a:gd name="T104" fmla="*/ 91 w 375"/>
                <a:gd name="T105" fmla="*/ 362 h 441"/>
                <a:gd name="T106" fmla="*/ 80 w 375"/>
                <a:gd name="T107" fmla="*/ 370 h 441"/>
                <a:gd name="T108" fmla="*/ 69 w 375"/>
                <a:gd name="T109" fmla="*/ 378 h 441"/>
                <a:gd name="T110" fmla="*/ 58 w 375"/>
                <a:gd name="T111" fmla="*/ 386 h 441"/>
                <a:gd name="T112" fmla="*/ 18 w 375"/>
                <a:gd name="T113" fmla="*/ 423 h 441"/>
                <a:gd name="T114" fmla="*/ 8 w 375"/>
                <a:gd name="T115" fmla="*/ 432 h 441"/>
                <a:gd name="T116" fmla="*/ 7 w 375"/>
                <a:gd name="T117" fmla="*/ 433 h 441"/>
                <a:gd name="T118" fmla="*/ 0 w 375"/>
                <a:gd name="T119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5" h="441">
                  <a:moveTo>
                    <a:pt x="0" y="441"/>
                  </a:moveTo>
                  <a:lnTo>
                    <a:pt x="16" y="272"/>
                  </a:lnTo>
                  <a:lnTo>
                    <a:pt x="16" y="272"/>
                  </a:lnTo>
                  <a:cubicBezTo>
                    <a:pt x="18" y="275"/>
                    <a:pt x="20" y="277"/>
                    <a:pt x="22" y="279"/>
                  </a:cubicBezTo>
                  <a:lnTo>
                    <a:pt x="22" y="279"/>
                  </a:lnTo>
                  <a:cubicBezTo>
                    <a:pt x="24" y="281"/>
                    <a:pt x="27" y="283"/>
                    <a:pt x="29" y="285"/>
                  </a:cubicBezTo>
                  <a:cubicBezTo>
                    <a:pt x="31" y="287"/>
                    <a:pt x="34" y="289"/>
                    <a:pt x="36" y="290"/>
                  </a:cubicBezTo>
                  <a:cubicBezTo>
                    <a:pt x="41" y="293"/>
                    <a:pt x="46" y="296"/>
                    <a:pt x="51" y="298"/>
                  </a:cubicBezTo>
                  <a:cubicBezTo>
                    <a:pt x="55" y="299"/>
                    <a:pt x="58" y="300"/>
                    <a:pt x="62" y="301"/>
                  </a:cubicBezTo>
                  <a:cubicBezTo>
                    <a:pt x="64" y="301"/>
                    <a:pt x="66" y="302"/>
                    <a:pt x="69" y="302"/>
                  </a:cubicBezTo>
                  <a:lnTo>
                    <a:pt x="71" y="302"/>
                  </a:lnTo>
                  <a:cubicBezTo>
                    <a:pt x="73" y="302"/>
                    <a:pt x="76" y="303"/>
                    <a:pt x="79" y="303"/>
                  </a:cubicBezTo>
                  <a:cubicBezTo>
                    <a:pt x="93" y="303"/>
                    <a:pt x="106" y="299"/>
                    <a:pt x="119" y="292"/>
                  </a:cubicBezTo>
                  <a:cubicBezTo>
                    <a:pt x="141" y="279"/>
                    <a:pt x="154" y="259"/>
                    <a:pt x="158" y="236"/>
                  </a:cubicBezTo>
                  <a:lnTo>
                    <a:pt x="158" y="236"/>
                  </a:lnTo>
                  <a:cubicBezTo>
                    <a:pt x="159" y="231"/>
                    <a:pt x="159" y="226"/>
                    <a:pt x="159" y="222"/>
                  </a:cubicBezTo>
                  <a:cubicBezTo>
                    <a:pt x="159" y="208"/>
                    <a:pt x="156" y="194"/>
                    <a:pt x="149" y="182"/>
                  </a:cubicBezTo>
                  <a:cubicBezTo>
                    <a:pt x="138" y="163"/>
                    <a:pt x="121" y="150"/>
                    <a:pt x="102" y="145"/>
                  </a:cubicBezTo>
                  <a:lnTo>
                    <a:pt x="102" y="145"/>
                  </a:lnTo>
                  <a:cubicBezTo>
                    <a:pt x="94" y="142"/>
                    <a:pt x="87" y="141"/>
                    <a:pt x="79" y="141"/>
                  </a:cubicBezTo>
                  <a:cubicBezTo>
                    <a:pt x="65" y="141"/>
                    <a:pt x="51" y="145"/>
                    <a:pt x="38" y="152"/>
                  </a:cubicBezTo>
                  <a:cubicBezTo>
                    <a:pt x="34" y="155"/>
                    <a:pt x="30" y="157"/>
                    <a:pt x="26" y="161"/>
                  </a:cubicBezTo>
                  <a:lnTo>
                    <a:pt x="26" y="161"/>
                  </a:lnTo>
                  <a:lnTo>
                    <a:pt x="26" y="161"/>
                  </a:lnTo>
                  <a:lnTo>
                    <a:pt x="38" y="24"/>
                  </a:lnTo>
                  <a:cubicBezTo>
                    <a:pt x="41" y="26"/>
                    <a:pt x="43" y="29"/>
                    <a:pt x="46" y="32"/>
                  </a:cubicBezTo>
                  <a:cubicBezTo>
                    <a:pt x="52" y="29"/>
                    <a:pt x="58" y="27"/>
                    <a:pt x="63" y="24"/>
                  </a:cubicBezTo>
                  <a:cubicBezTo>
                    <a:pt x="73" y="20"/>
                    <a:pt x="82" y="17"/>
                    <a:pt x="91" y="13"/>
                  </a:cubicBezTo>
                  <a:cubicBezTo>
                    <a:pt x="101" y="8"/>
                    <a:pt x="112" y="4"/>
                    <a:pt x="122" y="0"/>
                  </a:cubicBezTo>
                  <a:lnTo>
                    <a:pt x="122" y="0"/>
                  </a:lnTo>
                  <a:lnTo>
                    <a:pt x="122" y="0"/>
                  </a:lnTo>
                  <a:lnTo>
                    <a:pt x="168" y="46"/>
                  </a:lnTo>
                  <a:lnTo>
                    <a:pt x="186" y="64"/>
                  </a:lnTo>
                  <a:lnTo>
                    <a:pt x="271" y="150"/>
                  </a:lnTo>
                  <a:lnTo>
                    <a:pt x="308" y="186"/>
                  </a:lnTo>
                  <a:lnTo>
                    <a:pt x="375" y="253"/>
                  </a:lnTo>
                  <a:cubicBezTo>
                    <a:pt x="370" y="253"/>
                    <a:pt x="365" y="254"/>
                    <a:pt x="360" y="255"/>
                  </a:cubicBezTo>
                  <a:cubicBezTo>
                    <a:pt x="355" y="255"/>
                    <a:pt x="351" y="256"/>
                    <a:pt x="346" y="257"/>
                  </a:cubicBezTo>
                  <a:cubicBezTo>
                    <a:pt x="341" y="257"/>
                    <a:pt x="337" y="258"/>
                    <a:pt x="332" y="259"/>
                  </a:cubicBezTo>
                  <a:cubicBezTo>
                    <a:pt x="327" y="260"/>
                    <a:pt x="323" y="261"/>
                    <a:pt x="318" y="262"/>
                  </a:cubicBezTo>
                  <a:cubicBezTo>
                    <a:pt x="313" y="263"/>
                    <a:pt x="307" y="264"/>
                    <a:pt x="302" y="265"/>
                  </a:cubicBezTo>
                  <a:cubicBezTo>
                    <a:pt x="294" y="267"/>
                    <a:pt x="285" y="270"/>
                    <a:pt x="277" y="272"/>
                  </a:cubicBezTo>
                  <a:cubicBezTo>
                    <a:pt x="272" y="273"/>
                    <a:pt x="268" y="275"/>
                    <a:pt x="263" y="276"/>
                  </a:cubicBezTo>
                  <a:cubicBezTo>
                    <a:pt x="254" y="279"/>
                    <a:pt x="246" y="282"/>
                    <a:pt x="237" y="285"/>
                  </a:cubicBezTo>
                  <a:cubicBezTo>
                    <a:pt x="224" y="290"/>
                    <a:pt x="211" y="295"/>
                    <a:pt x="198" y="300"/>
                  </a:cubicBezTo>
                  <a:cubicBezTo>
                    <a:pt x="195" y="302"/>
                    <a:pt x="192" y="303"/>
                    <a:pt x="189" y="304"/>
                  </a:cubicBezTo>
                  <a:cubicBezTo>
                    <a:pt x="184" y="307"/>
                    <a:pt x="178" y="310"/>
                    <a:pt x="173" y="312"/>
                  </a:cubicBezTo>
                  <a:cubicBezTo>
                    <a:pt x="170" y="314"/>
                    <a:pt x="166" y="315"/>
                    <a:pt x="163" y="317"/>
                  </a:cubicBezTo>
                  <a:lnTo>
                    <a:pt x="161" y="318"/>
                  </a:lnTo>
                  <a:cubicBezTo>
                    <a:pt x="148" y="325"/>
                    <a:pt x="136" y="332"/>
                    <a:pt x="124" y="339"/>
                  </a:cubicBezTo>
                  <a:cubicBezTo>
                    <a:pt x="121" y="342"/>
                    <a:pt x="117" y="344"/>
                    <a:pt x="113" y="346"/>
                  </a:cubicBezTo>
                  <a:cubicBezTo>
                    <a:pt x="110" y="349"/>
                    <a:pt x="106" y="351"/>
                    <a:pt x="102" y="354"/>
                  </a:cubicBezTo>
                  <a:cubicBezTo>
                    <a:pt x="98" y="356"/>
                    <a:pt x="95" y="359"/>
                    <a:pt x="91" y="362"/>
                  </a:cubicBezTo>
                  <a:cubicBezTo>
                    <a:pt x="87" y="364"/>
                    <a:pt x="83" y="367"/>
                    <a:pt x="80" y="370"/>
                  </a:cubicBezTo>
                  <a:cubicBezTo>
                    <a:pt x="76" y="372"/>
                    <a:pt x="73" y="375"/>
                    <a:pt x="69" y="378"/>
                  </a:cubicBezTo>
                  <a:cubicBezTo>
                    <a:pt x="65" y="381"/>
                    <a:pt x="62" y="383"/>
                    <a:pt x="58" y="386"/>
                  </a:cubicBezTo>
                  <a:cubicBezTo>
                    <a:pt x="44" y="398"/>
                    <a:pt x="31" y="410"/>
                    <a:pt x="18" y="423"/>
                  </a:cubicBezTo>
                  <a:cubicBezTo>
                    <a:pt x="15" y="426"/>
                    <a:pt x="11" y="429"/>
                    <a:pt x="8" y="432"/>
                  </a:cubicBezTo>
                  <a:lnTo>
                    <a:pt x="7" y="433"/>
                  </a:lnTo>
                  <a:cubicBezTo>
                    <a:pt x="5" y="436"/>
                    <a:pt x="3" y="438"/>
                    <a:pt x="0" y="441"/>
                  </a:cubicBezTo>
                </a:path>
              </a:pathLst>
            </a:custGeom>
            <a:solidFill>
              <a:srgbClr val="969A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04">
              <a:extLst>
                <a:ext uri="{FF2B5EF4-FFF2-40B4-BE49-F238E27FC236}">
                  <a16:creationId xmlns:a16="http://schemas.microsoft.com/office/drawing/2014/main" id="{A01A4CBA-7B0B-5A79-4787-0EB145030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32513" y="3354388"/>
              <a:ext cx="309563" cy="409575"/>
            </a:xfrm>
            <a:custGeom>
              <a:avLst/>
              <a:gdLst>
                <a:gd name="T0" fmla="*/ 448 w 685"/>
                <a:gd name="T1" fmla="*/ 897 h 897"/>
                <a:gd name="T2" fmla="*/ 0 w 685"/>
                <a:gd name="T3" fmla="*/ 449 h 897"/>
                <a:gd name="T4" fmla="*/ 448 w 685"/>
                <a:gd name="T5" fmla="*/ 0 h 897"/>
                <a:gd name="T6" fmla="*/ 685 w 685"/>
                <a:gd name="T7" fmla="*/ 67 h 897"/>
                <a:gd name="T8" fmla="*/ 622 w 685"/>
                <a:gd name="T9" fmla="*/ 769 h 897"/>
                <a:gd name="T10" fmla="*/ 543 w 685"/>
                <a:gd name="T11" fmla="*/ 887 h 897"/>
                <a:gd name="T12" fmla="*/ 448 w 685"/>
                <a:gd name="T13" fmla="*/ 897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5" h="897">
                  <a:moveTo>
                    <a:pt x="448" y="897"/>
                  </a:moveTo>
                  <a:cubicBezTo>
                    <a:pt x="200" y="897"/>
                    <a:pt x="0" y="696"/>
                    <a:pt x="0" y="449"/>
                  </a:cubicBezTo>
                  <a:cubicBezTo>
                    <a:pt x="0" y="201"/>
                    <a:pt x="200" y="0"/>
                    <a:pt x="448" y="0"/>
                  </a:cubicBezTo>
                  <a:cubicBezTo>
                    <a:pt x="535" y="0"/>
                    <a:pt x="617" y="25"/>
                    <a:pt x="685" y="67"/>
                  </a:cubicBezTo>
                  <a:lnTo>
                    <a:pt x="622" y="769"/>
                  </a:lnTo>
                  <a:cubicBezTo>
                    <a:pt x="617" y="821"/>
                    <a:pt x="586" y="864"/>
                    <a:pt x="543" y="887"/>
                  </a:cubicBezTo>
                  <a:cubicBezTo>
                    <a:pt x="512" y="894"/>
                    <a:pt x="481" y="897"/>
                    <a:pt x="448" y="897"/>
                  </a:cubicBezTo>
                </a:path>
              </a:pathLst>
            </a:custGeom>
            <a:solidFill>
              <a:srgbClr val="2A2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105">
              <a:extLst>
                <a:ext uri="{FF2B5EF4-FFF2-40B4-BE49-F238E27FC236}">
                  <a16:creationId xmlns:a16="http://schemas.microsoft.com/office/drawing/2014/main" id="{A48BB973-B538-A75D-46FB-D24984F1FC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967413" y="3187700"/>
              <a:ext cx="73025" cy="73025"/>
            </a:xfrm>
            <a:prstGeom prst="ellipse">
              <a:avLst/>
            </a:prstGeom>
            <a:solidFill>
              <a:srgbClr val="4E4F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Line 106">
              <a:extLst>
                <a:ext uri="{FF2B5EF4-FFF2-40B4-BE49-F238E27FC236}">
                  <a16:creationId xmlns:a16="http://schemas.microsoft.com/office/drawing/2014/main" id="{F1111EEF-E087-6869-A542-8E4F4E1645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5011738" y="1643062"/>
              <a:ext cx="0" cy="53975"/>
            </a:xfrm>
            <a:prstGeom prst="line">
              <a:avLst/>
            </a:prstGeom>
            <a:noFill/>
            <a:ln w="44450" cap="rnd">
              <a:solidFill>
                <a:srgbClr val="625E8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107">
              <a:extLst>
                <a:ext uri="{FF2B5EF4-FFF2-40B4-BE49-F238E27FC236}">
                  <a16:creationId xmlns:a16="http://schemas.microsoft.com/office/drawing/2014/main" id="{91234740-BBE3-4AE9-7429-BC7FA4C02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730750" y="2657475"/>
              <a:ext cx="139700" cy="142875"/>
            </a:xfrm>
            <a:prstGeom prst="ellipse">
              <a:avLst/>
            </a:prstGeom>
            <a:solidFill>
              <a:srgbClr val="9EB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08">
              <a:extLst>
                <a:ext uri="{FF2B5EF4-FFF2-40B4-BE49-F238E27FC236}">
                  <a16:creationId xmlns:a16="http://schemas.microsoft.com/office/drawing/2014/main" id="{61E19CE6-C44B-C8A5-6A69-55979E56B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41863" y="2646362"/>
              <a:ext cx="161925" cy="165100"/>
            </a:xfrm>
            <a:custGeom>
              <a:avLst/>
              <a:gdLst>
                <a:gd name="T0" fmla="*/ 180 w 360"/>
                <a:gd name="T1" fmla="*/ 0 h 360"/>
                <a:gd name="T2" fmla="*/ 0 w 360"/>
                <a:gd name="T3" fmla="*/ 180 h 360"/>
                <a:gd name="T4" fmla="*/ 180 w 360"/>
                <a:gd name="T5" fmla="*/ 360 h 360"/>
                <a:gd name="T6" fmla="*/ 360 w 360"/>
                <a:gd name="T7" fmla="*/ 180 h 360"/>
                <a:gd name="T8" fmla="*/ 180 w 360"/>
                <a:gd name="T9" fmla="*/ 0 h 360"/>
                <a:gd name="T10" fmla="*/ 180 w 360"/>
                <a:gd name="T11" fmla="*/ 50 h 360"/>
                <a:gd name="T12" fmla="*/ 310 w 360"/>
                <a:gd name="T13" fmla="*/ 180 h 360"/>
                <a:gd name="T14" fmla="*/ 180 w 360"/>
                <a:gd name="T15" fmla="*/ 310 h 360"/>
                <a:gd name="T16" fmla="*/ 50 w 360"/>
                <a:gd name="T17" fmla="*/ 180 h 360"/>
                <a:gd name="T18" fmla="*/ 180 w 360"/>
                <a:gd name="T19" fmla="*/ 5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60">
                  <a:moveTo>
                    <a:pt x="180" y="0"/>
                  </a:moveTo>
                  <a:cubicBezTo>
                    <a:pt x="80" y="0"/>
                    <a:pt x="0" y="80"/>
                    <a:pt x="0" y="180"/>
                  </a:cubicBezTo>
                  <a:cubicBezTo>
                    <a:pt x="0" y="279"/>
                    <a:pt x="80" y="360"/>
                    <a:pt x="180" y="360"/>
                  </a:cubicBezTo>
                  <a:cubicBezTo>
                    <a:pt x="279" y="360"/>
                    <a:pt x="360" y="279"/>
                    <a:pt x="360" y="180"/>
                  </a:cubicBezTo>
                  <a:cubicBezTo>
                    <a:pt x="360" y="80"/>
                    <a:pt x="279" y="0"/>
                    <a:pt x="180" y="0"/>
                  </a:cubicBezTo>
                  <a:close/>
                  <a:moveTo>
                    <a:pt x="180" y="50"/>
                  </a:moveTo>
                  <a:cubicBezTo>
                    <a:pt x="251" y="50"/>
                    <a:pt x="310" y="108"/>
                    <a:pt x="310" y="180"/>
                  </a:cubicBezTo>
                  <a:cubicBezTo>
                    <a:pt x="310" y="251"/>
                    <a:pt x="251" y="310"/>
                    <a:pt x="180" y="310"/>
                  </a:cubicBezTo>
                  <a:cubicBezTo>
                    <a:pt x="108" y="310"/>
                    <a:pt x="50" y="251"/>
                    <a:pt x="50" y="180"/>
                  </a:cubicBezTo>
                  <a:cubicBezTo>
                    <a:pt x="50" y="108"/>
                    <a:pt x="108" y="50"/>
                    <a:pt x="180" y="50"/>
                  </a:cubicBezTo>
                  <a:close/>
                </a:path>
              </a:pathLst>
            </a:custGeom>
            <a:solidFill>
              <a:srgbClr val="D4ED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09">
              <a:extLst>
                <a:ext uri="{FF2B5EF4-FFF2-40B4-BE49-F238E27FC236}">
                  <a16:creationId xmlns:a16="http://schemas.microsoft.com/office/drawing/2014/main" id="{AA5BD299-3D11-9D69-2C2F-2F2BC8AFF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78525" y="2159000"/>
              <a:ext cx="327025" cy="331788"/>
            </a:xfrm>
            <a:custGeom>
              <a:avLst/>
              <a:gdLst>
                <a:gd name="T0" fmla="*/ 726 w 726"/>
                <a:gd name="T1" fmla="*/ 363 h 726"/>
                <a:gd name="T2" fmla="*/ 386 w 726"/>
                <a:gd name="T3" fmla="*/ 725 h 726"/>
                <a:gd name="T4" fmla="*/ 363 w 726"/>
                <a:gd name="T5" fmla="*/ 726 h 726"/>
                <a:gd name="T6" fmla="*/ 126 w 726"/>
                <a:gd name="T7" fmla="*/ 637 h 726"/>
                <a:gd name="T8" fmla="*/ 0 w 726"/>
                <a:gd name="T9" fmla="*/ 363 h 726"/>
                <a:gd name="T10" fmla="*/ 363 w 726"/>
                <a:gd name="T11" fmla="*/ 0 h 726"/>
                <a:gd name="T12" fmla="*/ 726 w 726"/>
                <a:gd name="T13" fmla="*/ 363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6" h="726">
                  <a:moveTo>
                    <a:pt x="726" y="363"/>
                  </a:moveTo>
                  <a:cubicBezTo>
                    <a:pt x="726" y="556"/>
                    <a:pt x="576" y="714"/>
                    <a:pt x="386" y="725"/>
                  </a:cubicBezTo>
                  <a:cubicBezTo>
                    <a:pt x="378" y="726"/>
                    <a:pt x="371" y="726"/>
                    <a:pt x="363" y="726"/>
                  </a:cubicBezTo>
                  <a:cubicBezTo>
                    <a:pt x="272" y="726"/>
                    <a:pt x="189" y="693"/>
                    <a:pt x="126" y="637"/>
                  </a:cubicBezTo>
                  <a:cubicBezTo>
                    <a:pt x="49" y="571"/>
                    <a:pt x="0" y="473"/>
                    <a:pt x="0" y="363"/>
                  </a:cubicBezTo>
                  <a:cubicBezTo>
                    <a:pt x="0" y="163"/>
                    <a:pt x="163" y="0"/>
                    <a:pt x="363" y="0"/>
                  </a:cubicBezTo>
                  <a:cubicBezTo>
                    <a:pt x="564" y="0"/>
                    <a:pt x="726" y="163"/>
                    <a:pt x="726" y="363"/>
                  </a:cubicBezTo>
                  <a:close/>
                </a:path>
              </a:pathLst>
            </a:custGeom>
            <a:solidFill>
              <a:srgbClr val="9EB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10">
              <a:extLst>
                <a:ext uri="{FF2B5EF4-FFF2-40B4-BE49-F238E27FC236}">
                  <a16:creationId xmlns:a16="http://schemas.microsoft.com/office/drawing/2014/main" id="{5E6349CC-4702-87A0-F1B9-A6A772A2C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91225" y="2147887"/>
              <a:ext cx="350838" cy="354013"/>
            </a:xfrm>
            <a:custGeom>
              <a:avLst/>
              <a:gdLst>
                <a:gd name="T0" fmla="*/ 751 w 776"/>
                <a:gd name="T1" fmla="*/ 388 h 776"/>
                <a:gd name="T2" fmla="*/ 726 w 776"/>
                <a:gd name="T3" fmla="*/ 388 h 776"/>
                <a:gd name="T4" fmla="*/ 409 w 776"/>
                <a:gd name="T5" fmla="*/ 725 h 776"/>
                <a:gd name="T6" fmla="*/ 409 w 776"/>
                <a:gd name="T7" fmla="*/ 725 h 776"/>
                <a:gd name="T8" fmla="*/ 408 w 776"/>
                <a:gd name="T9" fmla="*/ 725 h 776"/>
                <a:gd name="T10" fmla="*/ 388 w 776"/>
                <a:gd name="T11" fmla="*/ 726 h 776"/>
                <a:gd name="T12" fmla="*/ 167 w 776"/>
                <a:gd name="T13" fmla="*/ 643 h 776"/>
                <a:gd name="T14" fmla="*/ 167 w 776"/>
                <a:gd name="T15" fmla="*/ 643 h 776"/>
                <a:gd name="T16" fmla="*/ 50 w 776"/>
                <a:gd name="T17" fmla="*/ 388 h 776"/>
                <a:gd name="T18" fmla="*/ 149 w 776"/>
                <a:gd name="T19" fmla="*/ 149 h 776"/>
                <a:gd name="T20" fmla="*/ 388 w 776"/>
                <a:gd name="T21" fmla="*/ 50 h 776"/>
                <a:gd name="T22" fmla="*/ 627 w 776"/>
                <a:gd name="T23" fmla="*/ 149 h 776"/>
                <a:gd name="T24" fmla="*/ 726 w 776"/>
                <a:gd name="T25" fmla="*/ 388 h 776"/>
                <a:gd name="T26" fmla="*/ 751 w 776"/>
                <a:gd name="T27" fmla="*/ 388 h 776"/>
                <a:gd name="T28" fmla="*/ 776 w 776"/>
                <a:gd name="T29" fmla="*/ 388 h 776"/>
                <a:gd name="T30" fmla="*/ 388 w 776"/>
                <a:gd name="T31" fmla="*/ 0 h 776"/>
                <a:gd name="T32" fmla="*/ 0 w 776"/>
                <a:gd name="T33" fmla="*/ 388 h 776"/>
                <a:gd name="T34" fmla="*/ 134 w 776"/>
                <a:gd name="T35" fmla="*/ 681 h 776"/>
                <a:gd name="T36" fmla="*/ 134 w 776"/>
                <a:gd name="T37" fmla="*/ 681 h 776"/>
                <a:gd name="T38" fmla="*/ 388 w 776"/>
                <a:gd name="T39" fmla="*/ 776 h 776"/>
                <a:gd name="T40" fmla="*/ 413 w 776"/>
                <a:gd name="T41" fmla="*/ 775 h 776"/>
                <a:gd name="T42" fmla="*/ 411 w 776"/>
                <a:gd name="T43" fmla="*/ 750 h 776"/>
                <a:gd name="T44" fmla="*/ 412 w 776"/>
                <a:gd name="T45" fmla="*/ 775 h 776"/>
                <a:gd name="T46" fmla="*/ 776 w 776"/>
                <a:gd name="T47" fmla="*/ 388 h 776"/>
                <a:gd name="T48" fmla="*/ 751 w 776"/>
                <a:gd name="T49" fmla="*/ 388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6" h="776">
                  <a:moveTo>
                    <a:pt x="751" y="388"/>
                  </a:moveTo>
                  <a:lnTo>
                    <a:pt x="726" y="388"/>
                  </a:lnTo>
                  <a:cubicBezTo>
                    <a:pt x="726" y="568"/>
                    <a:pt x="586" y="715"/>
                    <a:pt x="409" y="725"/>
                  </a:cubicBezTo>
                  <a:lnTo>
                    <a:pt x="409" y="725"/>
                  </a:lnTo>
                  <a:lnTo>
                    <a:pt x="408" y="725"/>
                  </a:lnTo>
                  <a:cubicBezTo>
                    <a:pt x="402" y="726"/>
                    <a:pt x="395" y="726"/>
                    <a:pt x="388" y="726"/>
                  </a:cubicBezTo>
                  <a:cubicBezTo>
                    <a:pt x="304" y="726"/>
                    <a:pt x="227" y="695"/>
                    <a:pt x="167" y="643"/>
                  </a:cubicBezTo>
                  <a:lnTo>
                    <a:pt x="167" y="643"/>
                  </a:lnTo>
                  <a:cubicBezTo>
                    <a:pt x="96" y="582"/>
                    <a:pt x="50" y="490"/>
                    <a:pt x="50" y="388"/>
                  </a:cubicBezTo>
                  <a:cubicBezTo>
                    <a:pt x="50" y="295"/>
                    <a:pt x="88" y="211"/>
                    <a:pt x="149" y="149"/>
                  </a:cubicBezTo>
                  <a:cubicBezTo>
                    <a:pt x="211" y="88"/>
                    <a:pt x="295" y="50"/>
                    <a:pt x="388" y="50"/>
                  </a:cubicBezTo>
                  <a:cubicBezTo>
                    <a:pt x="482" y="50"/>
                    <a:pt x="566" y="88"/>
                    <a:pt x="627" y="149"/>
                  </a:cubicBezTo>
                  <a:cubicBezTo>
                    <a:pt x="688" y="211"/>
                    <a:pt x="726" y="295"/>
                    <a:pt x="726" y="388"/>
                  </a:cubicBezTo>
                  <a:lnTo>
                    <a:pt x="751" y="388"/>
                  </a:lnTo>
                  <a:lnTo>
                    <a:pt x="776" y="388"/>
                  </a:lnTo>
                  <a:cubicBezTo>
                    <a:pt x="776" y="174"/>
                    <a:pt x="602" y="0"/>
                    <a:pt x="388" y="0"/>
                  </a:cubicBezTo>
                  <a:cubicBezTo>
                    <a:pt x="174" y="0"/>
                    <a:pt x="0" y="174"/>
                    <a:pt x="0" y="388"/>
                  </a:cubicBezTo>
                  <a:cubicBezTo>
                    <a:pt x="0" y="505"/>
                    <a:pt x="52" y="610"/>
                    <a:pt x="134" y="681"/>
                  </a:cubicBezTo>
                  <a:lnTo>
                    <a:pt x="134" y="681"/>
                  </a:lnTo>
                  <a:cubicBezTo>
                    <a:pt x="202" y="740"/>
                    <a:pt x="291" y="776"/>
                    <a:pt x="388" y="776"/>
                  </a:cubicBezTo>
                  <a:cubicBezTo>
                    <a:pt x="396" y="776"/>
                    <a:pt x="404" y="776"/>
                    <a:pt x="413" y="775"/>
                  </a:cubicBezTo>
                  <a:lnTo>
                    <a:pt x="411" y="750"/>
                  </a:lnTo>
                  <a:lnTo>
                    <a:pt x="412" y="775"/>
                  </a:lnTo>
                  <a:cubicBezTo>
                    <a:pt x="615" y="763"/>
                    <a:pt x="776" y="594"/>
                    <a:pt x="776" y="388"/>
                  </a:cubicBezTo>
                  <a:lnTo>
                    <a:pt x="751" y="388"/>
                  </a:lnTo>
                </a:path>
              </a:pathLst>
            </a:custGeom>
            <a:solidFill>
              <a:srgbClr val="D4ED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11">
              <a:extLst>
                <a:ext uri="{FF2B5EF4-FFF2-40B4-BE49-F238E27FC236}">
                  <a16:creationId xmlns:a16="http://schemas.microsoft.com/office/drawing/2014/main" id="{ED53DBB7-90BD-41E0-A6F7-59CCC4905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11838" y="2560637"/>
              <a:ext cx="1588" cy="0"/>
            </a:xfrm>
            <a:custGeom>
              <a:avLst/>
              <a:gdLst>
                <a:gd name="T0" fmla="*/ 2 w 2"/>
                <a:gd name="T1" fmla="*/ 3 h 3"/>
                <a:gd name="T2" fmla="*/ 1 w 2"/>
                <a:gd name="T3" fmla="*/ 0 h 3"/>
                <a:gd name="T4" fmla="*/ 2 w 2"/>
                <a:gd name="T5" fmla="*/ 0 h 3"/>
                <a:gd name="T6" fmla="*/ 2 w 2"/>
                <a:gd name="T7" fmla="*/ 3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0" y="3"/>
                    <a:pt x="0" y="2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15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12">
              <a:extLst>
                <a:ext uri="{FF2B5EF4-FFF2-40B4-BE49-F238E27FC236}">
                  <a16:creationId xmlns:a16="http://schemas.microsoft.com/office/drawing/2014/main" id="{8AB6AD01-1A5B-591C-92C1-E050C4E7F3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810250" y="2547937"/>
              <a:ext cx="7938" cy="12700"/>
            </a:xfrm>
            <a:custGeom>
              <a:avLst/>
              <a:gdLst>
                <a:gd name="T0" fmla="*/ 1 w 20"/>
                <a:gd name="T1" fmla="*/ 25 h 25"/>
                <a:gd name="T2" fmla="*/ 0 w 20"/>
                <a:gd name="T3" fmla="*/ 25 h 25"/>
                <a:gd name="T4" fmla="*/ 1 w 20"/>
                <a:gd name="T5" fmla="*/ 23 h 25"/>
                <a:gd name="T6" fmla="*/ 1 w 20"/>
                <a:gd name="T7" fmla="*/ 25 h 25"/>
                <a:gd name="T8" fmla="*/ 1 w 20"/>
                <a:gd name="T9" fmla="*/ 23 h 25"/>
                <a:gd name="T10" fmla="*/ 3 w 20"/>
                <a:gd name="T11" fmla="*/ 0 h 25"/>
                <a:gd name="T12" fmla="*/ 15 w 20"/>
                <a:gd name="T13" fmla="*/ 0 h 25"/>
                <a:gd name="T14" fmla="*/ 1 w 20"/>
                <a:gd name="T15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5">
                  <a:moveTo>
                    <a:pt x="1" y="25"/>
                  </a:moveTo>
                  <a:cubicBezTo>
                    <a:pt x="1" y="25"/>
                    <a:pt x="1" y="25"/>
                    <a:pt x="0" y="25"/>
                  </a:cubicBezTo>
                  <a:cubicBezTo>
                    <a:pt x="1" y="24"/>
                    <a:pt x="1" y="24"/>
                    <a:pt x="1" y="23"/>
                  </a:cubicBezTo>
                  <a:lnTo>
                    <a:pt x="1" y="25"/>
                  </a:lnTo>
                  <a:close/>
                  <a:moveTo>
                    <a:pt x="1" y="23"/>
                  </a:moveTo>
                  <a:lnTo>
                    <a:pt x="3" y="0"/>
                  </a:lnTo>
                  <a:cubicBezTo>
                    <a:pt x="7" y="0"/>
                    <a:pt x="11" y="0"/>
                    <a:pt x="15" y="0"/>
                  </a:cubicBezTo>
                  <a:cubicBezTo>
                    <a:pt x="20" y="0"/>
                    <a:pt x="6" y="15"/>
                    <a:pt x="1" y="23"/>
                  </a:cubicBezTo>
                  <a:close/>
                </a:path>
              </a:pathLst>
            </a:custGeom>
            <a:solidFill>
              <a:srgbClr val="5317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13">
              <a:extLst>
                <a:ext uri="{FF2B5EF4-FFF2-40B4-BE49-F238E27FC236}">
                  <a16:creationId xmlns:a16="http://schemas.microsoft.com/office/drawing/2014/main" id="{845326CA-32D1-D7EB-C6A7-DBB085731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725" y="2520950"/>
              <a:ext cx="55563" cy="20638"/>
            </a:xfrm>
            <a:custGeom>
              <a:avLst/>
              <a:gdLst>
                <a:gd name="T0" fmla="*/ 122 w 122"/>
                <a:gd name="T1" fmla="*/ 47 h 47"/>
                <a:gd name="T2" fmla="*/ 0 w 122"/>
                <a:gd name="T3" fmla="*/ 2 h 47"/>
                <a:gd name="T4" fmla="*/ 0 w 122"/>
                <a:gd name="T5" fmla="*/ 0 h 47"/>
                <a:gd name="T6" fmla="*/ 54 w 122"/>
                <a:gd name="T7" fmla="*/ 26 h 47"/>
                <a:gd name="T8" fmla="*/ 116 w 122"/>
                <a:gd name="T9" fmla="*/ 45 h 47"/>
                <a:gd name="T10" fmla="*/ 122 w 122"/>
                <a:gd name="T1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2" h="47">
                  <a:moveTo>
                    <a:pt x="122" y="47"/>
                  </a:moveTo>
                  <a:cubicBezTo>
                    <a:pt x="72" y="37"/>
                    <a:pt x="27" y="22"/>
                    <a:pt x="0" y="2"/>
                  </a:cubicBezTo>
                  <a:lnTo>
                    <a:pt x="0" y="0"/>
                  </a:lnTo>
                  <a:cubicBezTo>
                    <a:pt x="17" y="10"/>
                    <a:pt x="36" y="19"/>
                    <a:pt x="54" y="26"/>
                  </a:cubicBezTo>
                  <a:cubicBezTo>
                    <a:pt x="68" y="31"/>
                    <a:pt x="88" y="37"/>
                    <a:pt x="116" y="45"/>
                  </a:cubicBezTo>
                  <a:cubicBezTo>
                    <a:pt x="118" y="46"/>
                    <a:pt x="120" y="46"/>
                    <a:pt x="122" y="47"/>
                  </a:cubicBezTo>
                  <a:close/>
                </a:path>
              </a:pathLst>
            </a:custGeom>
            <a:solidFill>
              <a:srgbClr val="2A28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14">
              <a:extLst>
                <a:ext uri="{FF2B5EF4-FFF2-40B4-BE49-F238E27FC236}">
                  <a16:creationId xmlns:a16="http://schemas.microsoft.com/office/drawing/2014/main" id="{7AE59065-4836-265F-9A94-74AEA493B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7725" y="2463800"/>
              <a:ext cx="122238" cy="84138"/>
            </a:xfrm>
            <a:custGeom>
              <a:avLst/>
              <a:gdLst>
                <a:gd name="T0" fmla="*/ 262 w 271"/>
                <a:gd name="T1" fmla="*/ 184 h 184"/>
                <a:gd name="T2" fmla="*/ 122 w 271"/>
                <a:gd name="T3" fmla="*/ 169 h 184"/>
                <a:gd name="T4" fmla="*/ 116 w 271"/>
                <a:gd name="T5" fmla="*/ 167 h 184"/>
                <a:gd name="T6" fmla="*/ 54 w 271"/>
                <a:gd name="T7" fmla="*/ 148 h 184"/>
                <a:gd name="T8" fmla="*/ 0 w 271"/>
                <a:gd name="T9" fmla="*/ 122 h 184"/>
                <a:gd name="T10" fmla="*/ 11 w 271"/>
                <a:gd name="T11" fmla="*/ 0 h 184"/>
                <a:gd name="T12" fmla="*/ 249 w 271"/>
                <a:gd name="T13" fmla="*/ 82 h 184"/>
                <a:gd name="T14" fmla="*/ 271 w 271"/>
                <a:gd name="T15" fmla="*/ 81 h 184"/>
                <a:gd name="T16" fmla="*/ 262 w 271"/>
                <a:gd name="T17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184">
                  <a:moveTo>
                    <a:pt x="262" y="184"/>
                  </a:moveTo>
                  <a:cubicBezTo>
                    <a:pt x="219" y="183"/>
                    <a:pt x="168" y="178"/>
                    <a:pt x="122" y="169"/>
                  </a:cubicBezTo>
                  <a:cubicBezTo>
                    <a:pt x="120" y="168"/>
                    <a:pt x="118" y="168"/>
                    <a:pt x="116" y="167"/>
                  </a:cubicBezTo>
                  <a:cubicBezTo>
                    <a:pt x="88" y="159"/>
                    <a:pt x="68" y="153"/>
                    <a:pt x="54" y="148"/>
                  </a:cubicBezTo>
                  <a:cubicBezTo>
                    <a:pt x="36" y="141"/>
                    <a:pt x="17" y="132"/>
                    <a:pt x="0" y="122"/>
                  </a:cubicBezTo>
                  <a:lnTo>
                    <a:pt x="11" y="0"/>
                  </a:lnTo>
                  <a:cubicBezTo>
                    <a:pt x="76" y="51"/>
                    <a:pt x="159" y="82"/>
                    <a:pt x="249" y="82"/>
                  </a:cubicBezTo>
                  <a:cubicBezTo>
                    <a:pt x="256" y="82"/>
                    <a:pt x="264" y="82"/>
                    <a:pt x="271" y="81"/>
                  </a:cubicBezTo>
                  <a:lnTo>
                    <a:pt x="262" y="184"/>
                  </a:lnTo>
                  <a:close/>
                </a:path>
              </a:pathLst>
            </a:custGeom>
            <a:solidFill>
              <a:srgbClr val="5317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15">
              <a:extLst>
                <a:ext uri="{FF2B5EF4-FFF2-40B4-BE49-F238E27FC236}">
                  <a16:creationId xmlns:a16="http://schemas.microsoft.com/office/drawing/2014/main" id="{5C1B2C06-66C3-047A-C2C8-02D52A039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19788" y="2271712"/>
              <a:ext cx="131763" cy="207963"/>
            </a:xfrm>
            <a:custGeom>
              <a:avLst/>
              <a:gdLst>
                <a:gd name="T0" fmla="*/ 233 w 292"/>
                <a:gd name="T1" fmla="*/ 455 h 455"/>
                <a:gd name="T2" fmla="*/ 12 w 292"/>
                <a:gd name="T3" fmla="*/ 372 h 455"/>
                <a:gd name="T4" fmla="*/ 12 w 292"/>
                <a:gd name="T5" fmla="*/ 372 h 455"/>
                <a:gd name="T6" fmla="*/ 0 w 292"/>
                <a:gd name="T7" fmla="*/ 361 h 455"/>
                <a:gd name="T8" fmla="*/ 20 w 292"/>
                <a:gd name="T9" fmla="*/ 121 h 455"/>
                <a:gd name="T10" fmla="*/ 153 w 292"/>
                <a:gd name="T11" fmla="*/ 0 h 455"/>
                <a:gd name="T12" fmla="*/ 165 w 292"/>
                <a:gd name="T13" fmla="*/ 0 h 455"/>
                <a:gd name="T14" fmla="*/ 286 w 292"/>
                <a:gd name="T15" fmla="*/ 145 h 455"/>
                <a:gd name="T16" fmla="*/ 259 w 292"/>
                <a:gd name="T17" fmla="*/ 454 h 455"/>
                <a:gd name="T18" fmla="*/ 254 w 292"/>
                <a:gd name="T19" fmla="*/ 454 h 455"/>
                <a:gd name="T20" fmla="*/ 254 w 292"/>
                <a:gd name="T21" fmla="*/ 454 h 455"/>
                <a:gd name="T22" fmla="*/ 253 w 292"/>
                <a:gd name="T23" fmla="*/ 454 h 455"/>
                <a:gd name="T24" fmla="*/ 233 w 292"/>
                <a:gd name="T25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2" h="455">
                  <a:moveTo>
                    <a:pt x="233" y="455"/>
                  </a:moveTo>
                  <a:cubicBezTo>
                    <a:pt x="149" y="455"/>
                    <a:pt x="72" y="424"/>
                    <a:pt x="12" y="372"/>
                  </a:cubicBezTo>
                  <a:lnTo>
                    <a:pt x="12" y="372"/>
                  </a:lnTo>
                  <a:cubicBezTo>
                    <a:pt x="8" y="369"/>
                    <a:pt x="4" y="365"/>
                    <a:pt x="0" y="361"/>
                  </a:cubicBezTo>
                  <a:lnTo>
                    <a:pt x="20" y="121"/>
                  </a:lnTo>
                  <a:cubicBezTo>
                    <a:pt x="26" y="52"/>
                    <a:pt x="85" y="0"/>
                    <a:pt x="153" y="0"/>
                  </a:cubicBezTo>
                  <a:cubicBezTo>
                    <a:pt x="157" y="0"/>
                    <a:pt x="161" y="0"/>
                    <a:pt x="165" y="0"/>
                  </a:cubicBezTo>
                  <a:cubicBezTo>
                    <a:pt x="238" y="7"/>
                    <a:pt x="292" y="72"/>
                    <a:pt x="286" y="145"/>
                  </a:cubicBezTo>
                  <a:lnTo>
                    <a:pt x="259" y="454"/>
                  </a:lnTo>
                  <a:cubicBezTo>
                    <a:pt x="258" y="454"/>
                    <a:pt x="256" y="454"/>
                    <a:pt x="254" y="454"/>
                  </a:cubicBezTo>
                  <a:lnTo>
                    <a:pt x="254" y="454"/>
                  </a:lnTo>
                  <a:lnTo>
                    <a:pt x="253" y="454"/>
                  </a:lnTo>
                  <a:cubicBezTo>
                    <a:pt x="247" y="455"/>
                    <a:pt x="240" y="455"/>
                    <a:pt x="233" y="455"/>
                  </a:cubicBezTo>
                  <a:close/>
                </a:path>
              </a:pathLst>
            </a:custGeom>
            <a:solidFill>
              <a:srgbClr val="343C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16">
              <a:extLst>
                <a:ext uri="{FF2B5EF4-FFF2-40B4-BE49-F238E27FC236}">
                  <a16:creationId xmlns:a16="http://schemas.microsoft.com/office/drawing/2014/main" id="{13C4226D-A852-66CC-B4C8-E0C1B6016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22963" y="2436812"/>
              <a:ext cx="119063" cy="65088"/>
            </a:xfrm>
            <a:custGeom>
              <a:avLst/>
              <a:gdLst>
                <a:gd name="T0" fmla="*/ 238 w 264"/>
                <a:gd name="T1" fmla="*/ 144 h 144"/>
                <a:gd name="T2" fmla="*/ 0 w 264"/>
                <a:gd name="T3" fmla="*/ 62 h 144"/>
                <a:gd name="T4" fmla="*/ 5 w 264"/>
                <a:gd name="T5" fmla="*/ 0 h 144"/>
                <a:gd name="T6" fmla="*/ 17 w 264"/>
                <a:gd name="T7" fmla="*/ 11 h 144"/>
                <a:gd name="T8" fmla="*/ 17 w 264"/>
                <a:gd name="T9" fmla="*/ 11 h 144"/>
                <a:gd name="T10" fmla="*/ 238 w 264"/>
                <a:gd name="T11" fmla="*/ 94 h 144"/>
                <a:gd name="T12" fmla="*/ 258 w 264"/>
                <a:gd name="T13" fmla="*/ 93 h 144"/>
                <a:gd name="T14" fmla="*/ 259 w 264"/>
                <a:gd name="T15" fmla="*/ 93 h 144"/>
                <a:gd name="T16" fmla="*/ 259 w 264"/>
                <a:gd name="T17" fmla="*/ 93 h 144"/>
                <a:gd name="T18" fmla="*/ 264 w 264"/>
                <a:gd name="T19" fmla="*/ 93 h 144"/>
                <a:gd name="T20" fmla="*/ 260 w 264"/>
                <a:gd name="T21" fmla="*/ 143 h 144"/>
                <a:gd name="T22" fmla="*/ 238 w 264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4" h="144">
                  <a:moveTo>
                    <a:pt x="238" y="144"/>
                  </a:moveTo>
                  <a:cubicBezTo>
                    <a:pt x="148" y="144"/>
                    <a:pt x="65" y="113"/>
                    <a:pt x="0" y="62"/>
                  </a:cubicBezTo>
                  <a:lnTo>
                    <a:pt x="5" y="0"/>
                  </a:lnTo>
                  <a:cubicBezTo>
                    <a:pt x="9" y="4"/>
                    <a:pt x="13" y="8"/>
                    <a:pt x="17" y="11"/>
                  </a:cubicBezTo>
                  <a:lnTo>
                    <a:pt x="17" y="11"/>
                  </a:lnTo>
                  <a:cubicBezTo>
                    <a:pt x="77" y="63"/>
                    <a:pt x="154" y="94"/>
                    <a:pt x="238" y="94"/>
                  </a:cubicBezTo>
                  <a:cubicBezTo>
                    <a:pt x="245" y="94"/>
                    <a:pt x="252" y="94"/>
                    <a:pt x="258" y="93"/>
                  </a:cubicBezTo>
                  <a:lnTo>
                    <a:pt x="259" y="93"/>
                  </a:lnTo>
                  <a:lnTo>
                    <a:pt x="259" y="93"/>
                  </a:lnTo>
                  <a:cubicBezTo>
                    <a:pt x="261" y="93"/>
                    <a:pt x="263" y="93"/>
                    <a:pt x="264" y="93"/>
                  </a:cubicBezTo>
                  <a:lnTo>
                    <a:pt x="260" y="143"/>
                  </a:lnTo>
                  <a:cubicBezTo>
                    <a:pt x="253" y="144"/>
                    <a:pt x="245" y="144"/>
                    <a:pt x="238" y="144"/>
                  </a:cubicBezTo>
                  <a:close/>
                </a:path>
              </a:pathLst>
            </a:custGeom>
            <a:solidFill>
              <a:srgbClr val="464A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17">
              <a:extLst>
                <a:ext uri="{FF2B5EF4-FFF2-40B4-BE49-F238E27FC236}">
                  <a16:creationId xmlns:a16="http://schemas.microsoft.com/office/drawing/2014/main" id="{0ECC8B78-764B-2DDC-C316-0F6B028C2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0" y="2238375"/>
              <a:ext cx="187325" cy="800100"/>
            </a:xfrm>
            <a:custGeom>
              <a:avLst/>
              <a:gdLst>
                <a:gd name="T0" fmla="*/ 127 w 412"/>
                <a:gd name="T1" fmla="*/ 1748 h 1754"/>
                <a:gd name="T2" fmla="*/ 127 w 412"/>
                <a:gd name="T3" fmla="*/ 1748 h 1754"/>
                <a:gd name="T4" fmla="*/ 272 w 412"/>
                <a:gd name="T5" fmla="*/ 1627 h 1754"/>
                <a:gd name="T6" fmla="*/ 405 w 412"/>
                <a:gd name="T7" fmla="*/ 151 h 1754"/>
                <a:gd name="T8" fmla="*/ 284 w 412"/>
                <a:gd name="T9" fmla="*/ 7 h 1754"/>
                <a:gd name="T10" fmla="*/ 284 w 412"/>
                <a:gd name="T11" fmla="*/ 7 h 1754"/>
                <a:gd name="T12" fmla="*/ 140 w 412"/>
                <a:gd name="T13" fmla="*/ 127 h 1754"/>
                <a:gd name="T14" fmla="*/ 6 w 412"/>
                <a:gd name="T15" fmla="*/ 1603 h 1754"/>
                <a:gd name="T16" fmla="*/ 127 w 412"/>
                <a:gd name="T17" fmla="*/ 1748 h 1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1754">
                  <a:moveTo>
                    <a:pt x="127" y="1748"/>
                  </a:moveTo>
                  <a:lnTo>
                    <a:pt x="127" y="1748"/>
                  </a:lnTo>
                  <a:cubicBezTo>
                    <a:pt x="200" y="1754"/>
                    <a:pt x="265" y="1700"/>
                    <a:pt x="272" y="1627"/>
                  </a:cubicBezTo>
                  <a:lnTo>
                    <a:pt x="405" y="151"/>
                  </a:lnTo>
                  <a:cubicBezTo>
                    <a:pt x="412" y="78"/>
                    <a:pt x="357" y="13"/>
                    <a:pt x="284" y="7"/>
                  </a:cubicBezTo>
                  <a:lnTo>
                    <a:pt x="284" y="7"/>
                  </a:lnTo>
                  <a:cubicBezTo>
                    <a:pt x="211" y="0"/>
                    <a:pt x="146" y="54"/>
                    <a:pt x="140" y="127"/>
                  </a:cubicBezTo>
                  <a:lnTo>
                    <a:pt x="6" y="1603"/>
                  </a:lnTo>
                  <a:cubicBezTo>
                    <a:pt x="0" y="1676"/>
                    <a:pt x="54" y="1741"/>
                    <a:pt x="127" y="1748"/>
                  </a:cubicBezTo>
                  <a:close/>
                </a:path>
              </a:pathLst>
            </a:custGeom>
            <a:solidFill>
              <a:srgbClr val="5350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18">
              <a:extLst>
                <a:ext uri="{FF2B5EF4-FFF2-40B4-BE49-F238E27FC236}">
                  <a16:creationId xmlns:a16="http://schemas.microsoft.com/office/drawing/2014/main" id="{B82146B7-E794-5D17-35D1-637FBEDBE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86475" y="2903537"/>
              <a:ext cx="369888" cy="790575"/>
            </a:xfrm>
            <a:custGeom>
              <a:avLst/>
              <a:gdLst>
                <a:gd name="T0" fmla="*/ 143 w 820"/>
                <a:gd name="T1" fmla="*/ 1689 h 1731"/>
                <a:gd name="T2" fmla="*/ 525 w 820"/>
                <a:gd name="T3" fmla="*/ 1724 h 1731"/>
                <a:gd name="T4" fmla="*/ 688 w 820"/>
                <a:gd name="T5" fmla="*/ 1588 h 1731"/>
                <a:gd name="T6" fmla="*/ 813 w 820"/>
                <a:gd name="T7" fmla="*/ 205 h 1731"/>
                <a:gd name="T8" fmla="*/ 677 w 820"/>
                <a:gd name="T9" fmla="*/ 42 h 1731"/>
                <a:gd name="T10" fmla="*/ 295 w 820"/>
                <a:gd name="T11" fmla="*/ 8 h 1731"/>
                <a:gd name="T12" fmla="*/ 132 w 820"/>
                <a:gd name="T13" fmla="*/ 143 h 1731"/>
                <a:gd name="T14" fmla="*/ 7 w 820"/>
                <a:gd name="T15" fmla="*/ 1526 h 1731"/>
                <a:gd name="T16" fmla="*/ 143 w 820"/>
                <a:gd name="T17" fmla="*/ 1689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0" h="1731">
                  <a:moveTo>
                    <a:pt x="143" y="1689"/>
                  </a:moveTo>
                  <a:lnTo>
                    <a:pt x="525" y="1724"/>
                  </a:lnTo>
                  <a:cubicBezTo>
                    <a:pt x="607" y="1731"/>
                    <a:pt x="680" y="1670"/>
                    <a:pt x="688" y="1588"/>
                  </a:cubicBezTo>
                  <a:lnTo>
                    <a:pt x="813" y="205"/>
                  </a:lnTo>
                  <a:cubicBezTo>
                    <a:pt x="820" y="123"/>
                    <a:pt x="759" y="49"/>
                    <a:pt x="677" y="42"/>
                  </a:cubicBezTo>
                  <a:lnTo>
                    <a:pt x="295" y="8"/>
                  </a:lnTo>
                  <a:cubicBezTo>
                    <a:pt x="213" y="0"/>
                    <a:pt x="140" y="61"/>
                    <a:pt x="132" y="143"/>
                  </a:cubicBezTo>
                  <a:lnTo>
                    <a:pt x="7" y="1526"/>
                  </a:lnTo>
                  <a:cubicBezTo>
                    <a:pt x="0" y="1609"/>
                    <a:pt x="61" y="1682"/>
                    <a:pt x="143" y="1689"/>
                  </a:cubicBezTo>
                </a:path>
              </a:pathLst>
            </a:custGeom>
            <a:solidFill>
              <a:srgbClr val="96D5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19">
              <a:extLst>
                <a:ext uri="{FF2B5EF4-FFF2-40B4-BE49-F238E27FC236}">
                  <a16:creationId xmlns:a16="http://schemas.microsoft.com/office/drawing/2014/main" id="{8DAE7992-38B3-8B53-9C54-514160815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86475" y="2946400"/>
              <a:ext cx="279400" cy="742950"/>
            </a:xfrm>
            <a:custGeom>
              <a:avLst/>
              <a:gdLst>
                <a:gd name="T0" fmla="*/ 560 w 620"/>
                <a:gd name="T1" fmla="*/ 1230 h 1628"/>
                <a:gd name="T2" fmla="*/ 460 w 620"/>
                <a:gd name="T3" fmla="*/ 1156 h 1628"/>
                <a:gd name="T4" fmla="*/ 482 w 620"/>
                <a:gd name="T5" fmla="*/ 915 h 1628"/>
                <a:gd name="T6" fmla="*/ 497 w 620"/>
                <a:gd name="T7" fmla="*/ 754 h 1628"/>
                <a:gd name="T8" fmla="*/ 504 w 620"/>
                <a:gd name="T9" fmla="*/ 677 h 1628"/>
                <a:gd name="T10" fmla="*/ 545 w 620"/>
                <a:gd name="T11" fmla="*/ 241 h 1628"/>
                <a:gd name="T12" fmla="*/ 551 w 620"/>
                <a:gd name="T13" fmla="*/ 171 h 1628"/>
                <a:gd name="T14" fmla="*/ 564 w 620"/>
                <a:gd name="T15" fmla="*/ 35 h 1628"/>
                <a:gd name="T16" fmla="*/ 342 w 620"/>
                <a:gd name="T17" fmla="*/ 13 h 1628"/>
                <a:gd name="T18" fmla="*/ 263 w 620"/>
                <a:gd name="T19" fmla="*/ 5 h 1628"/>
                <a:gd name="T20" fmla="*/ 263 w 620"/>
                <a:gd name="T21" fmla="*/ 5 h 1628"/>
                <a:gd name="T22" fmla="*/ 229 w 620"/>
                <a:gd name="T23" fmla="*/ 3 h 1628"/>
                <a:gd name="T24" fmla="*/ 218 w 620"/>
                <a:gd name="T25" fmla="*/ 2 h 1628"/>
                <a:gd name="T26" fmla="*/ 145 w 620"/>
                <a:gd name="T27" fmla="*/ 26 h 1628"/>
                <a:gd name="T28" fmla="*/ 134 w 620"/>
                <a:gd name="T29" fmla="*/ 37 h 1628"/>
                <a:gd name="T30" fmla="*/ 132 w 620"/>
                <a:gd name="T31" fmla="*/ 53 h 1628"/>
                <a:gd name="T32" fmla="*/ 125 w 620"/>
                <a:gd name="T33" fmla="*/ 131 h 1628"/>
                <a:gd name="T34" fmla="*/ 115 w 620"/>
                <a:gd name="T35" fmla="*/ 247 h 1628"/>
                <a:gd name="T36" fmla="*/ 89 w 620"/>
                <a:gd name="T37" fmla="*/ 535 h 1628"/>
                <a:gd name="T38" fmla="*/ 87 w 620"/>
                <a:gd name="T39" fmla="*/ 550 h 1628"/>
                <a:gd name="T40" fmla="*/ 75 w 620"/>
                <a:gd name="T41" fmla="*/ 687 h 1628"/>
                <a:gd name="T42" fmla="*/ 72 w 620"/>
                <a:gd name="T43" fmla="*/ 716 h 1628"/>
                <a:gd name="T44" fmla="*/ 64 w 620"/>
                <a:gd name="T45" fmla="*/ 803 h 1628"/>
                <a:gd name="T46" fmla="*/ 45 w 620"/>
                <a:gd name="T47" fmla="*/ 1011 h 1628"/>
                <a:gd name="T48" fmla="*/ 7 w 620"/>
                <a:gd name="T49" fmla="*/ 1436 h 1628"/>
                <a:gd name="T50" fmla="*/ 143 w 620"/>
                <a:gd name="T51" fmla="*/ 1598 h 1628"/>
                <a:gd name="T52" fmla="*/ 469 w 620"/>
                <a:gd name="T53" fmla="*/ 1628 h 1628"/>
                <a:gd name="T54" fmla="*/ 528 w 620"/>
                <a:gd name="T55" fmla="*/ 1586 h 1628"/>
                <a:gd name="T56" fmla="*/ 605 w 620"/>
                <a:gd name="T57" fmla="*/ 1431 h 1628"/>
                <a:gd name="T58" fmla="*/ 560 w 620"/>
                <a:gd name="T59" fmla="*/ 1230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20" h="1628">
                  <a:moveTo>
                    <a:pt x="560" y="1230"/>
                  </a:moveTo>
                  <a:cubicBezTo>
                    <a:pt x="517" y="1174"/>
                    <a:pt x="460" y="1156"/>
                    <a:pt x="460" y="1156"/>
                  </a:cubicBezTo>
                  <a:lnTo>
                    <a:pt x="482" y="915"/>
                  </a:lnTo>
                  <a:lnTo>
                    <a:pt x="497" y="754"/>
                  </a:lnTo>
                  <a:lnTo>
                    <a:pt x="504" y="677"/>
                  </a:lnTo>
                  <a:lnTo>
                    <a:pt x="545" y="241"/>
                  </a:lnTo>
                  <a:lnTo>
                    <a:pt x="551" y="171"/>
                  </a:lnTo>
                  <a:lnTo>
                    <a:pt x="564" y="35"/>
                  </a:lnTo>
                  <a:cubicBezTo>
                    <a:pt x="564" y="35"/>
                    <a:pt x="444" y="23"/>
                    <a:pt x="342" y="13"/>
                  </a:cubicBezTo>
                  <a:cubicBezTo>
                    <a:pt x="313" y="10"/>
                    <a:pt x="286" y="8"/>
                    <a:pt x="263" y="5"/>
                  </a:cubicBezTo>
                  <a:lnTo>
                    <a:pt x="263" y="5"/>
                  </a:lnTo>
                  <a:cubicBezTo>
                    <a:pt x="250" y="4"/>
                    <a:pt x="239" y="3"/>
                    <a:pt x="229" y="3"/>
                  </a:cubicBezTo>
                  <a:cubicBezTo>
                    <a:pt x="225" y="2"/>
                    <a:pt x="221" y="2"/>
                    <a:pt x="218" y="2"/>
                  </a:cubicBezTo>
                  <a:cubicBezTo>
                    <a:pt x="187" y="0"/>
                    <a:pt x="163" y="10"/>
                    <a:pt x="145" y="26"/>
                  </a:cubicBezTo>
                  <a:cubicBezTo>
                    <a:pt x="141" y="29"/>
                    <a:pt x="138" y="33"/>
                    <a:pt x="134" y="37"/>
                  </a:cubicBezTo>
                  <a:cubicBezTo>
                    <a:pt x="133" y="42"/>
                    <a:pt x="133" y="47"/>
                    <a:pt x="132" y="53"/>
                  </a:cubicBezTo>
                  <a:lnTo>
                    <a:pt x="125" y="131"/>
                  </a:lnTo>
                  <a:lnTo>
                    <a:pt x="115" y="247"/>
                  </a:lnTo>
                  <a:lnTo>
                    <a:pt x="89" y="535"/>
                  </a:lnTo>
                  <a:lnTo>
                    <a:pt x="87" y="550"/>
                  </a:lnTo>
                  <a:lnTo>
                    <a:pt x="75" y="687"/>
                  </a:lnTo>
                  <a:lnTo>
                    <a:pt x="72" y="716"/>
                  </a:lnTo>
                  <a:lnTo>
                    <a:pt x="64" y="803"/>
                  </a:lnTo>
                  <a:lnTo>
                    <a:pt x="45" y="1011"/>
                  </a:lnTo>
                  <a:lnTo>
                    <a:pt x="7" y="1436"/>
                  </a:lnTo>
                  <a:cubicBezTo>
                    <a:pt x="0" y="1518"/>
                    <a:pt x="61" y="1591"/>
                    <a:pt x="143" y="1598"/>
                  </a:cubicBezTo>
                  <a:lnTo>
                    <a:pt x="469" y="1628"/>
                  </a:lnTo>
                  <a:cubicBezTo>
                    <a:pt x="489" y="1617"/>
                    <a:pt x="510" y="1604"/>
                    <a:pt x="528" y="1586"/>
                  </a:cubicBezTo>
                  <a:cubicBezTo>
                    <a:pt x="565" y="1550"/>
                    <a:pt x="595" y="1499"/>
                    <a:pt x="605" y="1431"/>
                  </a:cubicBezTo>
                  <a:cubicBezTo>
                    <a:pt x="620" y="1336"/>
                    <a:pt x="594" y="1272"/>
                    <a:pt x="560" y="1230"/>
                  </a:cubicBezTo>
                </a:path>
              </a:pathLst>
            </a:custGeom>
            <a:solidFill>
              <a:srgbClr val="74A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20">
              <a:extLst>
                <a:ext uri="{FF2B5EF4-FFF2-40B4-BE49-F238E27FC236}">
                  <a16:creationId xmlns:a16="http://schemas.microsoft.com/office/drawing/2014/main" id="{6D7AE4C1-36A0-CAC2-295F-B71EC19AB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16600" y="2952750"/>
              <a:ext cx="68263" cy="247650"/>
            </a:xfrm>
            <a:custGeom>
              <a:avLst/>
              <a:gdLst>
                <a:gd name="T0" fmla="*/ 45 w 151"/>
                <a:gd name="T1" fmla="*/ 64 h 545"/>
                <a:gd name="T2" fmla="*/ 6 w 151"/>
                <a:gd name="T3" fmla="*/ 481 h 545"/>
                <a:gd name="T4" fmla="*/ 106 w 151"/>
                <a:gd name="T5" fmla="*/ 481 h 545"/>
                <a:gd name="T6" fmla="*/ 145 w 151"/>
                <a:gd name="T7" fmla="*/ 64 h 545"/>
                <a:gd name="T8" fmla="*/ 45 w 151"/>
                <a:gd name="T9" fmla="*/ 6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545">
                  <a:moveTo>
                    <a:pt x="45" y="64"/>
                  </a:moveTo>
                  <a:cubicBezTo>
                    <a:pt x="32" y="203"/>
                    <a:pt x="19" y="342"/>
                    <a:pt x="6" y="481"/>
                  </a:cubicBezTo>
                  <a:cubicBezTo>
                    <a:pt x="0" y="545"/>
                    <a:pt x="100" y="544"/>
                    <a:pt x="106" y="481"/>
                  </a:cubicBezTo>
                  <a:cubicBezTo>
                    <a:pt x="119" y="342"/>
                    <a:pt x="132" y="203"/>
                    <a:pt x="145" y="64"/>
                  </a:cubicBezTo>
                  <a:cubicBezTo>
                    <a:pt x="151" y="0"/>
                    <a:pt x="51" y="0"/>
                    <a:pt x="45" y="64"/>
                  </a:cubicBezTo>
                  <a:close/>
                </a:path>
              </a:pathLst>
            </a:custGeom>
            <a:solidFill>
              <a:srgbClr val="EFF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21">
              <a:extLst>
                <a:ext uri="{FF2B5EF4-FFF2-40B4-BE49-F238E27FC236}">
                  <a16:creationId xmlns:a16="http://schemas.microsoft.com/office/drawing/2014/main" id="{2E0494B1-F535-05FC-D21F-8C5EFE5B5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9938" y="2278062"/>
              <a:ext cx="69850" cy="73025"/>
            </a:xfrm>
            <a:custGeom>
              <a:avLst/>
              <a:gdLst>
                <a:gd name="T0" fmla="*/ 4 w 157"/>
                <a:gd name="T1" fmla="*/ 73 h 160"/>
                <a:gd name="T2" fmla="*/ 72 w 157"/>
                <a:gd name="T3" fmla="*/ 156 h 160"/>
                <a:gd name="T4" fmla="*/ 154 w 157"/>
                <a:gd name="T5" fmla="*/ 87 h 160"/>
                <a:gd name="T6" fmla="*/ 86 w 157"/>
                <a:gd name="T7" fmla="*/ 3 h 160"/>
                <a:gd name="T8" fmla="*/ 4 w 157"/>
                <a:gd name="T9" fmla="*/ 7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60">
                  <a:moveTo>
                    <a:pt x="4" y="73"/>
                  </a:moveTo>
                  <a:cubicBezTo>
                    <a:pt x="0" y="115"/>
                    <a:pt x="31" y="153"/>
                    <a:pt x="72" y="156"/>
                  </a:cubicBezTo>
                  <a:cubicBezTo>
                    <a:pt x="113" y="160"/>
                    <a:pt x="150" y="129"/>
                    <a:pt x="154" y="87"/>
                  </a:cubicBezTo>
                  <a:cubicBezTo>
                    <a:pt x="157" y="44"/>
                    <a:pt x="127" y="7"/>
                    <a:pt x="86" y="3"/>
                  </a:cubicBezTo>
                  <a:cubicBezTo>
                    <a:pt x="44" y="0"/>
                    <a:pt x="8" y="31"/>
                    <a:pt x="4" y="73"/>
                  </a:cubicBezTo>
                </a:path>
              </a:pathLst>
            </a:custGeom>
            <a:solidFill>
              <a:srgbClr val="B0E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22">
              <a:extLst>
                <a:ext uri="{FF2B5EF4-FFF2-40B4-BE49-F238E27FC236}">
                  <a16:creationId xmlns:a16="http://schemas.microsoft.com/office/drawing/2014/main" id="{B8DD2F27-F082-4213-B470-25BD5BDAC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88050" y="3521075"/>
              <a:ext cx="119063" cy="122238"/>
            </a:xfrm>
            <a:custGeom>
              <a:avLst/>
              <a:gdLst>
                <a:gd name="T0" fmla="*/ 255 w 262"/>
                <a:gd name="T1" fmla="*/ 145 h 267"/>
                <a:gd name="T2" fmla="*/ 142 w 262"/>
                <a:gd name="T3" fmla="*/ 6 h 267"/>
                <a:gd name="T4" fmla="*/ 6 w 262"/>
                <a:gd name="T5" fmla="*/ 122 h 267"/>
                <a:gd name="T6" fmla="*/ 119 w 262"/>
                <a:gd name="T7" fmla="*/ 261 h 267"/>
                <a:gd name="T8" fmla="*/ 255 w 262"/>
                <a:gd name="T9" fmla="*/ 14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255" y="145"/>
                  </a:moveTo>
                  <a:cubicBezTo>
                    <a:pt x="262" y="74"/>
                    <a:pt x="211" y="12"/>
                    <a:pt x="142" y="6"/>
                  </a:cubicBezTo>
                  <a:cubicBezTo>
                    <a:pt x="74" y="0"/>
                    <a:pt x="13" y="52"/>
                    <a:pt x="6" y="122"/>
                  </a:cubicBezTo>
                  <a:cubicBezTo>
                    <a:pt x="0" y="192"/>
                    <a:pt x="51" y="255"/>
                    <a:pt x="119" y="261"/>
                  </a:cubicBezTo>
                  <a:cubicBezTo>
                    <a:pt x="188" y="267"/>
                    <a:pt x="249" y="215"/>
                    <a:pt x="255" y="145"/>
                  </a:cubicBezTo>
                  <a:close/>
                </a:path>
              </a:pathLst>
            </a:custGeom>
            <a:solidFill>
              <a:srgbClr val="3C38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23">
              <a:extLst>
                <a:ext uri="{FF2B5EF4-FFF2-40B4-BE49-F238E27FC236}">
                  <a16:creationId xmlns:a16="http://schemas.microsoft.com/office/drawing/2014/main" id="{CF23120D-C114-45FE-35F9-09B6F2940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56200" y="3197225"/>
              <a:ext cx="184150" cy="185738"/>
            </a:xfrm>
            <a:custGeom>
              <a:avLst/>
              <a:gdLst>
                <a:gd name="T0" fmla="*/ 397 w 408"/>
                <a:gd name="T1" fmla="*/ 185 h 408"/>
                <a:gd name="T2" fmla="*/ 185 w 408"/>
                <a:gd name="T3" fmla="*/ 11 h 408"/>
                <a:gd name="T4" fmla="*/ 11 w 408"/>
                <a:gd name="T5" fmla="*/ 223 h 408"/>
                <a:gd name="T6" fmla="*/ 223 w 408"/>
                <a:gd name="T7" fmla="*/ 397 h 408"/>
                <a:gd name="T8" fmla="*/ 397 w 408"/>
                <a:gd name="T9" fmla="*/ 18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8" h="408">
                  <a:moveTo>
                    <a:pt x="397" y="185"/>
                  </a:moveTo>
                  <a:cubicBezTo>
                    <a:pt x="387" y="78"/>
                    <a:pt x="292" y="0"/>
                    <a:pt x="185" y="11"/>
                  </a:cubicBezTo>
                  <a:cubicBezTo>
                    <a:pt x="78" y="21"/>
                    <a:pt x="0" y="117"/>
                    <a:pt x="11" y="223"/>
                  </a:cubicBezTo>
                  <a:cubicBezTo>
                    <a:pt x="22" y="330"/>
                    <a:pt x="117" y="408"/>
                    <a:pt x="223" y="397"/>
                  </a:cubicBezTo>
                  <a:cubicBezTo>
                    <a:pt x="330" y="387"/>
                    <a:pt x="408" y="291"/>
                    <a:pt x="397" y="185"/>
                  </a:cubicBezTo>
                  <a:close/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4">
              <a:extLst>
                <a:ext uri="{FF2B5EF4-FFF2-40B4-BE49-F238E27FC236}">
                  <a16:creationId xmlns:a16="http://schemas.microsoft.com/office/drawing/2014/main" id="{4795018F-DBD6-08FF-AFE0-861134E51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34000" y="3711575"/>
              <a:ext cx="95250" cy="95250"/>
            </a:xfrm>
            <a:custGeom>
              <a:avLst/>
              <a:gdLst>
                <a:gd name="T0" fmla="*/ 105 w 209"/>
                <a:gd name="T1" fmla="*/ 0 h 209"/>
                <a:gd name="T2" fmla="*/ 61 w 209"/>
                <a:gd name="T3" fmla="*/ 10 h 209"/>
                <a:gd name="T4" fmla="*/ 0 w 209"/>
                <a:gd name="T5" fmla="*/ 104 h 209"/>
                <a:gd name="T6" fmla="*/ 35 w 209"/>
                <a:gd name="T7" fmla="*/ 182 h 209"/>
                <a:gd name="T8" fmla="*/ 105 w 209"/>
                <a:gd name="T9" fmla="*/ 209 h 209"/>
                <a:gd name="T10" fmla="*/ 209 w 209"/>
                <a:gd name="T11" fmla="*/ 104 h 209"/>
                <a:gd name="T12" fmla="*/ 105 w 209"/>
                <a:gd name="T1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209">
                  <a:moveTo>
                    <a:pt x="105" y="0"/>
                  </a:moveTo>
                  <a:cubicBezTo>
                    <a:pt x="89" y="0"/>
                    <a:pt x="74" y="4"/>
                    <a:pt x="61" y="10"/>
                  </a:cubicBezTo>
                  <a:cubicBezTo>
                    <a:pt x="25" y="27"/>
                    <a:pt x="0" y="63"/>
                    <a:pt x="0" y="104"/>
                  </a:cubicBezTo>
                  <a:cubicBezTo>
                    <a:pt x="0" y="135"/>
                    <a:pt x="14" y="163"/>
                    <a:pt x="35" y="182"/>
                  </a:cubicBezTo>
                  <a:cubicBezTo>
                    <a:pt x="54" y="199"/>
                    <a:pt x="78" y="209"/>
                    <a:pt x="105" y="209"/>
                  </a:cubicBezTo>
                  <a:cubicBezTo>
                    <a:pt x="162" y="209"/>
                    <a:pt x="209" y="162"/>
                    <a:pt x="209" y="104"/>
                  </a:cubicBezTo>
                  <a:cubicBezTo>
                    <a:pt x="209" y="47"/>
                    <a:pt x="162" y="0"/>
                    <a:pt x="105" y="0"/>
                  </a:cubicBezTo>
                </a:path>
              </a:pathLst>
            </a:custGeom>
            <a:solidFill>
              <a:srgbClr val="E0E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25">
              <a:extLst>
                <a:ext uri="{FF2B5EF4-FFF2-40B4-BE49-F238E27FC236}">
                  <a16:creationId xmlns:a16="http://schemas.microsoft.com/office/drawing/2014/main" id="{304E6B5E-4265-23B1-BB4D-E78196591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16663" y="4692650"/>
              <a:ext cx="1525588" cy="757238"/>
            </a:xfrm>
            <a:custGeom>
              <a:avLst/>
              <a:gdLst>
                <a:gd name="T0" fmla="*/ 0 w 3377"/>
                <a:gd name="T1" fmla="*/ 0 h 1659"/>
                <a:gd name="T2" fmla="*/ 3288 w 3377"/>
                <a:gd name="T3" fmla="*/ 959 h 1659"/>
                <a:gd name="T4" fmla="*/ 3377 w 3377"/>
                <a:gd name="T5" fmla="*/ 1659 h 1659"/>
                <a:gd name="T6" fmla="*/ 0 w 3377"/>
                <a:gd name="T7" fmla="*/ 0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77" h="1659">
                  <a:moveTo>
                    <a:pt x="0" y="0"/>
                  </a:moveTo>
                  <a:lnTo>
                    <a:pt x="3288" y="959"/>
                  </a:lnTo>
                  <a:lnTo>
                    <a:pt x="3377" y="16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7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26">
              <a:extLst>
                <a:ext uri="{FF2B5EF4-FFF2-40B4-BE49-F238E27FC236}">
                  <a16:creationId xmlns:a16="http://schemas.microsoft.com/office/drawing/2014/main" id="{7922876E-5E5D-F4AF-2F22-3F939BF4A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4100" y="5540375"/>
              <a:ext cx="536575" cy="842963"/>
            </a:xfrm>
            <a:custGeom>
              <a:avLst/>
              <a:gdLst>
                <a:gd name="T0" fmla="*/ 1189 w 1189"/>
                <a:gd name="T1" fmla="*/ 1846 h 1846"/>
                <a:gd name="T2" fmla="*/ 400 w 1189"/>
                <a:gd name="T3" fmla="*/ 25 h 1846"/>
                <a:gd name="T4" fmla="*/ 547 w 1189"/>
                <a:gd name="T5" fmla="*/ 1417 h 1846"/>
                <a:gd name="T6" fmla="*/ 1189 w 1189"/>
                <a:gd name="T7" fmla="*/ 1846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9" h="1846">
                  <a:moveTo>
                    <a:pt x="1189" y="1846"/>
                  </a:moveTo>
                  <a:cubicBezTo>
                    <a:pt x="1089" y="1371"/>
                    <a:pt x="800" y="50"/>
                    <a:pt x="400" y="25"/>
                  </a:cubicBezTo>
                  <a:cubicBezTo>
                    <a:pt x="0" y="0"/>
                    <a:pt x="547" y="1417"/>
                    <a:pt x="547" y="1417"/>
                  </a:cubicBezTo>
                  <a:lnTo>
                    <a:pt x="1189" y="1846"/>
                  </a:lnTo>
                </a:path>
              </a:pathLst>
            </a:custGeom>
            <a:solidFill>
              <a:srgbClr val="EF43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27">
              <a:extLst>
                <a:ext uri="{FF2B5EF4-FFF2-40B4-BE49-F238E27FC236}">
                  <a16:creationId xmlns:a16="http://schemas.microsoft.com/office/drawing/2014/main" id="{01667F7D-0C10-1BB0-9D63-705765F43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16675" y="4681538"/>
              <a:ext cx="1900238" cy="1393825"/>
            </a:xfrm>
            <a:custGeom>
              <a:avLst/>
              <a:gdLst>
                <a:gd name="T0" fmla="*/ 3783 w 4205"/>
                <a:gd name="T1" fmla="*/ 1478 h 3054"/>
                <a:gd name="T2" fmla="*/ 83 w 4205"/>
                <a:gd name="T3" fmla="*/ 0 h 3054"/>
                <a:gd name="T4" fmla="*/ 0 w 4205"/>
                <a:gd name="T5" fmla="*/ 847 h 3054"/>
                <a:gd name="T6" fmla="*/ 4055 w 4205"/>
                <a:gd name="T7" fmla="*/ 2975 h 3054"/>
                <a:gd name="T8" fmla="*/ 3783 w 4205"/>
                <a:gd name="T9" fmla="*/ 1478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5" h="3054">
                  <a:moveTo>
                    <a:pt x="3783" y="1478"/>
                  </a:moveTo>
                  <a:cubicBezTo>
                    <a:pt x="3506" y="1257"/>
                    <a:pt x="543" y="32"/>
                    <a:pt x="83" y="0"/>
                  </a:cubicBezTo>
                  <a:cubicBezTo>
                    <a:pt x="83" y="0"/>
                    <a:pt x="0" y="720"/>
                    <a:pt x="0" y="847"/>
                  </a:cubicBezTo>
                  <a:cubicBezTo>
                    <a:pt x="0" y="974"/>
                    <a:pt x="2611" y="2213"/>
                    <a:pt x="4055" y="2975"/>
                  </a:cubicBezTo>
                  <a:cubicBezTo>
                    <a:pt x="4205" y="3054"/>
                    <a:pt x="3863" y="1542"/>
                    <a:pt x="3783" y="1478"/>
                  </a:cubicBezTo>
                </a:path>
              </a:pathLst>
            </a:custGeom>
            <a:solidFill>
              <a:srgbClr val="F3FA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28">
              <a:extLst>
                <a:ext uri="{FF2B5EF4-FFF2-40B4-BE49-F238E27FC236}">
                  <a16:creationId xmlns:a16="http://schemas.microsoft.com/office/drawing/2014/main" id="{5B90881C-BCA0-AB65-3D2A-7349A80E9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8338" y="5259388"/>
              <a:ext cx="2236788" cy="1214438"/>
            </a:xfrm>
            <a:custGeom>
              <a:avLst/>
              <a:gdLst>
                <a:gd name="T0" fmla="*/ 4948 w 4948"/>
                <a:gd name="T1" fmla="*/ 2660 h 2660"/>
                <a:gd name="T2" fmla="*/ 0 w 4948"/>
                <a:gd name="T3" fmla="*/ 2660 h 2660"/>
                <a:gd name="T4" fmla="*/ 838 w 4948"/>
                <a:gd name="T5" fmla="*/ 166 h 2660"/>
                <a:gd name="T6" fmla="*/ 915 w 4948"/>
                <a:gd name="T7" fmla="*/ 7 h 2660"/>
                <a:gd name="T8" fmla="*/ 1163 w 4948"/>
                <a:gd name="T9" fmla="*/ 66 h 2660"/>
                <a:gd name="T10" fmla="*/ 4948 w 4948"/>
                <a:gd name="T11" fmla="*/ 2660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48" h="2660">
                  <a:moveTo>
                    <a:pt x="4948" y="2660"/>
                  </a:moveTo>
                  <a:lnTo>
                    <a:pt x="0" y="2660"/>
                  </a:lnTo>
                  <a:cubicBezTo>
                    <a:pt x="163" y="2040"/>
                    <a:pt x="596" y="713"/>
                    <a:pt x="838" y="166"/>
                  </a:cubicBezTo>
                  <a:cubicBezTo>
                    <a:pt x="867" y="101"/>
                    <a:pt x="892" y="48"/>
                    <a:pt x="915" y="7"/>
                  </a:cubicBezTo>
                  <a:cubicBezTo>
                    <a:pt x="970" y="0"/>
                    <a:pt x="1054" y="21"/>
                    <a:pt x="1163" y="66"/>
                  </a:cubicBezTo>
                  <a:cubicBezTo>
                    <a:pt x="1963" y="393"/>
                    <a:pt x="4055" y="1972"/>
                    <a:pt x="4948" y="2660"/>
                  </a:cubicBezTo>
                  <a:close/>
                </a:path>
              </a:pathLst>
            </a:custGeom>
            <a:solidFill>
              <a:srgbClr val="4539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29">
              <a:extLst>
                <a:ext uri="{FF2B5EF4-FFF2-40B4-BE49-F238E27FC236}">
                  <a16:creationId xmlns:a16="http://schemas.microsoft.com/office/drawing/2014/main" id="{5515C2FD-35D3-B03B-0718-BB81A55EA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38925" y="5289550"/>
              <a:ext cx="1857375" cy="1184275"/>
            </a:xfrm>
            <a:custGeom>
              <a:avLst/>
              <a:gdLst>
                <a:gd name="T0" fmla="*/ 4110 w 4110"/>
                <a:gd name="T1" fmla="*/ 2594 h 2594"/>
                <a:gd name="T2" fmla="*/ 3219 w 4110"/>
                <a:gd name="T3" fmla="*/ 2594 h 2594"/>
                <a:gd name="T4" fmla="*/ 0 w 4110"/>
                <a:gd name="T5" fmla="*/ 100 h 2594"/>
                <a:gd name="T6" fmla="*/ 325 w 4110"/>
                <a:gd name="T7" fmla="*/ 0 h 2594"/>
                <a:gd name="T8" fmla="*/ 4110 w 4110"/>
                <a:gd name="T9" fmla="*/ 2594 h 2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10" h="2594">
                  <a:moveTo>
                    <a:pt x="4110" y="2594"/>
                  </a:moveTo>
                  <a:lnTo>
                    <a:pt x="3219" y="2594"/>
                  </a:lnTo>
                  <a:cubicBezTo>
                    <a:pt x="2188" y="1175"/>
                    <a:pt x="0" y="100"/>
                    <a:pt x="0" y="100"/>
                  </a:cubicBezTo>
                  <a:cubicBezTo>
                    <a:pt x="0" y="100"/>
                    <a:pt x="140" y="48"/>
                    <a:pt x="325" y="0"/>
                  </a:cubicBezTo>
                  <a:cubicBezTo>
                    <a:pt x="1125" y="327"/>
                    <a:pt x="3217" y="1906"/>
                    <a:pt x="4110" y="2594"/>
                  </a:cubicBezTo>
                  <a:close/>
                </a:path>
              </a:pathLst>
            </a:custGeom>
            <a:solidFill>
              <a:srgbClr val="382C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30">
              <a:extLst>
                <a:ext uri="{FF2B5EF4-FFF2-40B4-BE49-F238E27FC236}">
                  <a16:creationId xmlns:a16="http://schemas.microsoft.com/office/drawing/2014/main" id="{A795EBB5-08B6-E06B-F8A8-7FDD01E34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72263" y="4932363"/>
              <a:ext cx="2524125" cy="1541463"/>
            </a:xfrm>
            <a:custGeom>
              <a:avLst/>
              <a:gdLst>
                <a:gd name="T0" fmla="*/ 5587 w 5587"/>
                <a:gd name="T1" fmla="*/ 3378 h 3378"/>
                <a:gd name="T2" fmla="*/ 3974 w 5587"/>
                <a:gd name="T3" fmla="*/ 3378 h 3378"/>
                <a:gd name="T4" fmla="*/ 73 w 5587"/>
                <a:gd name="T5" fmla="*/ 884 h 3378"/>
                <a:gd name="T6" fmla="*/ 0 w 5587"/>
                <a:gd name="T7" fmla="*/ 850 h 3378"/>
                <a:gd name="T8" fmla="*/ 275 w 5587"/>
                <a:gd name="T9" fmla="*/ 0 h 3378"/>
                <a:gd name="T10" fmla="*/ 351 w 5587"/>
                <a:gd name="T11" fmla="*/ 22 h 3378"/>
                <a:gd name="T12" fmla="*/ 735 w 5587"/>
                <a:gd name="T13" fmla="*/ 142 h 3378"/>
                <a:gd name="T14" fmla="*/ 1833 w 5587"/>
                <a:gd name="T15" fmla="*/ 578 h 3378"/>
                <a:gd name="T16" fmla="*/ 4351 w 5587"/>
                <a:gd name="T17" fmla="*/ 2149 h 3378"/>
                <a:gd name="T18" fmla="*/ 4651 w 5587"/>
                <a:gd name="T19" fmla="*/ 2409 h 3378"/>
                <a:gd name="T20" fmla="*/ 5118 w 5587"/>
                <a:gd name="T21" fmla="*/ 2858 h 3378"/>
                <a:gd name="T22" fmla="*/ 5587 w 5587"/>
                <a:gd name="T23" fmla="*/ 3378 h 3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7" h="3378">
                  <a:moveTo>
                    <a:pt x="5587" y="3378"/>
                  </a:moveTo>
                  <a:lnTo>
                    <a:pt x="3974" y="3378"/>
                  </a:lnTo>
                  <a:cubicBezTo>
                    <a:pt x="3474" y="2887"/>
                    <a:pt x="2295" y="1900"/>
                    <a:pt x="73" y="884"/>
                  </a:cubicBezTo>
                  <a:cubicBezTo>
                    <a:pt x="49" y="872"/>
                    <a:pt x="24" y="861"/>
                    <a:pt x="0" y="850"/>
                  </a:cubicBezTo>
                  <a:cubicBezTo>
                    <a:pt x="0" y="850"/>
                    <a:pt x="164" y="154"/>
                    <a:pt x="275" y="0"/>
                  </a:cubicBezTo>
                  <a:cubicBezTo>
                    <a:pt x="300" y="7"/>
                    <a:pt x="325" y="14"/>
                    <a:pt x="351" y="22"/>
                  </a:cubicBezTo>
                  <a:cubicBezTo>
                    <a:pt x="470" y="56"/>
                    <a:pt x="598" y="96"/>
                    <a:pt x="735" y="142"/>
                  </a:cubicBezTo>
                  <a:cubicBezTo>
                    <a:pt x="1061" y="251"/>
                    <a:pt x="1434" y="395"/>
                    <a:pt x="1833" y="578"/>
                  </a:cubicBezTo>
                  <a:cubicBezTo>
                    <a:pt x="2619" y="937"/>
                    <a:pt x="3508" y="1448"/>
                    <a:pt x="4351" y="2149"/>
                  </a:cubicBezTo>
                  <a:cubicBezTo>
                    <a:pt x="4452" y="2233"/>
                    <a:pt x="4552" y="2319"/>
                    <a:pt x="4651" y="2409"/>
                  </a:cubicBezTo>
                  <a:cubicBezTo>
                    <a:pt x="4810" y="2552"/>
                    <a:pt x="4966" y="2701"/>
                    <a:pt x="5118" y="2858"/>
                  </a:cubicBezTo>
                  <a:cubicBezTo>
                    <a:pt x="5279" y="3023"/>
                    <a:pt x="5435" y="3196"/>
                    <a:pt x="5587" y="3378"/>
                  </a:cubicBezTo>
                  <a:close/>
                </a:path>
              </a:pathLst>
            </a:custGeom>
            <a:solidFill>
              <a:srgbClr val="6152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4414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18305B7-1CC2-1CB0-25AC-172064DB7D80}"/>
              </a:ext>
            </a:extLst>
          </p:cNvPr>
          <p:cNvSpPr txBox="1">
            <a:spLocks/>
          </p:cNvSpPr>
          <p:nvPr/>
        </p:nvSpPr>
        <p:spPr>
          <a:xfrm>
            <a:off x="291782" y="201377"/>
            <a:ext cx="11424730" cy="9560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>
                <a:latin typeface="Arial Black" panose="020B0A04020102020204" pitchFamily="34" charset="0"/>
              </a:rPr>
              <a:t>Initiatives 2024/2025 Roadmap</a:t>
            </a:r>
            <a:endParaRPr lang="en-US" sz="3200" b="1" dirty="0">
              <a:latin typeface="Arial Black" panose="020B0A040201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EE9FDDB-23BA-F098-94EF-A966E9049BA9}"/>
              </a:ext>
            </a:extLst>
          </p:cNvPr>
          <p:cNvSpPr/>
          <p:nvPr/>
        </p:nvSpPr>
        <p:spPr>
          <a:xfrm>
            <a:off x="1635662" y="2829053"/>
            <a:ext cx="10080839" cy="369331"/>
          </a:xfrm>
          <a:prstGeom prst="roundRect">
            <a:avLst>
              <a:gd name="adj" fmla="val 50000"/>
            </a:avLst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>
            <a:innerShdw blurRad="63500" dist="38100" dir="16200000">
              <a:prstClr val="black">
                <a:alpha val="5000"/>
              </a:prstClr>
            </a:innerShdw>
          </a:effectLst>
        </p:spPr>
        <p:txBody>
          <a:bodyPr rtlCol="0" anchor="ctr"/>
          <a:lstStyle/>
          <a:p>
            <a:pPr algn="ctr" defTabSz="1218621">
              <a:defRPr/>
            </a:pPr>
            <a:endParaRPr lang="en-US" sz="2399" kern="0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36DDB96-4B45-13D1-24AC-996D43D2B619}"/>
              </a:ext>
            </a:extLst>
          </p:cNvPr>
          <p:cNvGrpSpPr/>
          <p:nvPr/>
        </p:nvGrpSpPr>
        <p:grpSpPr>
          <a:xfrm>
            <a:off x="3115340" y="2829053"/>
            <a:ext cx="1526699" cy="342522"/>
            <a:chOff x="3862161" y="1401214"/>
            <a:chExt cx="2326275" cy="358415"/>
          </a:xfrm>
          <a:solidFill>
            <a:srgbClr val="002060"/>
          </a:solidFill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F7675CA-22D3-ECA9-4A46-E69DB62CAC40}"/>
                </a:ext>
              </a:extLst>
            </p:cNvPr>
            <p:cNvSpPr/>
            <p:nvPr/>
          </p:nvSpPr>
          <p:spPr>
            <a:xfrm>
              <a:off x="3862161" y="1401214"/>
              <a:ext cx="2326275" cy="358415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>
              <a:innerShdw blurRad="63500" dist="38100" dir="16200000">
                <a:prstClr val="black">
                  <a:alpha val="5000"/>
                </a:prstClr>
              </a:innerShdw>
            </a:effectLst>
          </p:spPr>
          <p:txBody>
            <a:bodyPr rtlCol="0" anchor="ctr"/>
            <a:lstStyle/>
            <a:p>
              <a:pPr algn="ctr" defTabSz="1218621">
                <a:defRPr/>
              </a:pPr>
              <a:endParaRPr lang="en-US" sz="2399" kern="0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E31E114-ACFF-4A58-229C-FB7552A9ACD2}"/>
                </a:ext>
              </a:extLst>
            </p:cNvPr>
            <p:cNvSpPr txBox="1"/>
            <p:nvPr/>
          </p:nvSpPr>
          <p:spPr>
            <a:xfrm>
              <a:off x="4406973" y="1478117"/>
              <a:ext cx="1221896" cy="209776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218621">
                <a:defRPr/>
              </a:pPr>
              <a:r>
                <a:rPr lang="en-US" sz="1300" b="1" kern="0" dirty="0">
                  <a:solidFill>
                    <a:srgbClr val="FFFFFF"/>
                  </a:solidFill>
                  <a:latin typeface="Segoe UI"/>
                </a:rPr>
                <a:t>SEP - OCT</a:t>
              </a:r>
            </a:p>
          </p:txBody>
        </p: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5148231-D850-355E-B2F0-B41256D23D57}"/>
              </a:ext>
            </a:extLst>
          </p:cNvPr>
          <p:cNvSpPr/>
          <p:nvPr/>
        </p:nvSpPr>
        <p:spPr>
          <a:xfrm>
            <a:off x="1635663" y="3430826"/>
            <a:ext cx="10080838" cy="309360"/>
          </a:xfrm>
          <a:prstGeom prst="roundRect">
            <a:avLst>
              <a:gd name="adj" fmla="val 50000"/>
            </a:avLst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>
            <a:innerShdw blurRad="63500" dist="38100" dir="16200000">
              <a:prstClr val="black">
                <a:alpha val="5000"/>
              </a:prstClr>
            </a:innerShdw>
          </a:effectLst>
        </p:spPr>
        <p:txBody>
          <a:bodyPr rtlCol="0" anchor="ctr"/>
          <a:lstStyle/>
          <a:p>
            <a:pPr algn="ctr" defTabSz="1218621">
              <a:defRPr/>
            </a:pPr>
            <a:endParaRPr lang="en-US" sz="2399" kern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CD64996F-094D-2A43-9FBC-C0D4262AE4AB}"/>
              </a:ext>
            </a:extLst>
          </p:cNvPr>
          <p:cNvSpPr/>
          <p:nvPr/>
        </p:nvSpPr>
        <p:spPr>
          <a:xfrm>
            <a:off x="1635663" y="4032597"/>
            <a:ext cx="10080838" cy="362388"/>
          </a:xfrm>
          <a:prstGeom prst="roundRect">
            <a:avLst>
              <a:gd name="adj" fmla="val 50000"/>
            </a:avLst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>
            <a:innerShdw blurRad="63500" dist="38100" dir="16200000">
              <a:prstClr val="black">
                <a:alpha val="5000"/>
              </a:prstClr>
            </a:innerShdw>
          </a:effectLst>
        </p:spPr>
        <p:txBody>
          <a:bodyPr rtlCol="0" anchor="ctr"/>
          <a:lstStyle/>
          <a:p>
            <a:pPr algn="ctr" defTabSz="1218621">
              <a:defRPr/>
            </a:pPr>
            <a:endParaRPr lang="en-US" sz="2399" kern="0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D63DEA8-11B2-F74A-6774-A8ABEFA14408}"/>
              </a:ext>
            </a:extLst>
          </p:cNvPr>
          <p:cNvGrpSpPr/>
          <p:nvPr/>
        </p:nvGrpSpPr>
        <p:grpSpPr>
          <a:xfrm>
            <a:off x="6865740" y="4042556"/>
            <a:ext cx="1511774" cy="330051"/>
            <a:chOff x="3862163" y="1401214"/>
            <a:chExt cx="2048779" cy="344556"/>
          </a:xfrm>
          <a:solidFill>
            <a:srgbClr val="002060"/>
          </a:solidFill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7C182F9-4B26-CEB0-CEA3-C517F18E258C}"/>
                </a:ext>
              </a:extLst>
            </p:cNvPr>
            <p:cNvSpPr/>
            <p:nvPr/>
          </p:nvSpPr>
          <p:spPr>
            <a:xfrm>
              <a:off x="3862163" y="1401214"/>
              <a:ext cx="2048779" cy="344556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>
              <a:innerShdw blurRad="63500" dist="38100" dir="16200000">
                <a:prstClr val="black">
                  <a:alpha val="5000"/>
                </a:prstClr>
              </a:innerShdw>
            </a:effectLst>
          </p:spPr>
          <p:txBody>
            <a:bodyPr rtlCol="0" anchor="ctr"/>
            <a:lstStyle/>
            <a:p>
              <a:pPr algn="ctr" defTabSz="1218621">
                <a:defRPr/>
              </a:pPr>
              <a:endParaRPr lang="en-US" sz="2399" kern="0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25C74F6-B5CD-EF4F-7959-F0C9ACFB7F1C}"/>
                </a:ext>
              </a:extLst>
            </p:cNvPr>
            <p:cNvSpPr txBox="1"/>
            <p:nvPr/>
          </p:nvSpPr>
          <p:spPr>
            <a:xfrm>
              <a:off x="4367418" y="1464658"/>
              <a:ext cx="1221897" cy="209776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1218621">
                <a:defRPr/>
              </a:pPr>
              <a:r>
                <a:rPr lang="en-US" sz="1300" b="1" kern="0" dirty="0">
                  <a:solidFill>
                    <a:srgbClr val="FFFFFF"/>
                  </a:solidFill>
                  <a:latin typeface="Segoe UI"/>
                </a:rPr>
                <a:t>MAY-JUN</a:t>
              </a:r>
            </a:p>
          </p:txBody>
        </p:sp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3D80049-A4C4-D3A1-A2AF-FBB15EEB1947}"/>
              </a:ext>
            </a:extLst>
          </p:cNvPr>
          <p:cNvSpPr/>
          <p:nvPr/>
        </p:nvSpPr>
        <p:spPr>
          <a:xfrm>
            <a:off x="1635663" y="4634368"/>
            <a:ext cx="10080838" cy="309124"/>
          </a:xfrm>
          <a:prstGeom prst="roundRect">
            <a:avLst>
              <a:gd name="adj" fmla="val 50000"/>
            </a:avLst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>
            <a:innerShdw blurRad="63500" dist="38100" dir="16200000">
              <a:prstClr val="black">
                <a:alpha val="5000"/>
              </a:prstClr>
            </a:innerShdw>
          </a:effectLst>
        </p:spPr>
        <p:txBody>
          <a:bodyPr rtlCol="0" anchor="ctr"/>
          <a:lstStyle/>
          <a:p>
            <a:pPr algn="ctr" defTabSz="1218621">
              <a:defRPr/>
            </a:pPr>
            <a:endParaRPr lang="en-US" sz="2399" kern="0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3B3480D-2921-6CFC-79C7-683939D5493A}"/>
              </a:ext>
            </a:extLst>
          </p:cNvPr>
          <p:cNvGrpSpPr/>
          <p:nvPr/>
        </p:nvGrpSpPr>
        <p:grpSpPr>
          <a:xfrm>
            <a:off x="8327001" y="4605172"/>
            <a:ext cx="1466073" cy="329278"/>
            <a:chOff x="2144149" y="1401214"/>
            <a:chExt cx="3766794" cy="344556"/>
          </a:xfrm>
          <a:solidFill>
            <a:srgbClr val="002060"/>
          </a:solidFill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3F423C43-3079-1266-D546-1C2F4B749A78}"/>
                </a:ext>
              </a:extLst>
            </p:cNvPr>
            <p:cNvGrpSpPr/>
            <p:nvPr/>
          </p:nvGrpSpPr>
          <p:grpSpPr>
            <a:xfrm>
              <a:off x="2144149" y="1401214"/>
              <a:ext cx="3766794" cy="344556"/>
              <a:chOff x="2144149" y="1401214"/>
              <a:chExt cx="3766794" cy="344556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5D45BAC-C69A-A9CE-3CA4-62B0EDB65EBE}"/>
                  </a:ext>
                </a:extLst>
              </p:cNvPr>
              <p:cNvSpPr/>
              <p:nvPr/>
            </p:nvSpPr>
            <p:spPr>
              <a:xfrm>
                <a:off x="2144149" y="1401214"/>
                <a:ext cx="3766794" cy="344556"/>
              </a:xfrm>
              <a:prstGeom prst="roundRect">
                <a:avLst>
                  <a:gd name="adj" fmla="val 50000"/>
                </a:avLst>
              </a:prstGeom>
              <a:grpFill/>
              <a:ln w="25400" cap="flat" cmpd="sng" algn="ctr">
                <a:noFill/>
                <a:prstDash val="solid"/>
              </a:ln>
              <a:effectLst>
                <a:innerShdw blurRad="63500" dist="38100" dir="16200000">
                  <a:prstClr val="black">
                    <a:alpha val="5000"/>
                  </a:prstClr>
                </a:innerShdw>
              </a:effectLst>
            </p:spPr>
            <p:txBody>
              <a:bodyPr rtlCol="0" anchor="ctr"/>
              <a:lstStyle/>
              <a:p>
                <a:pPr algn="ctr" defTabSz="1218621">
                  <a:defRPr/>
                </a:pPr>
                <a:endParaRPr lang="en-US" sz="2399" kern="0">
                  <a:solidFill>
                    <a:prstClr val="white"/>
                  </a:solidFill>
                  <a:latin typeface="Segoe UI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3947820-1E29-B769-E30A-13C46BFA7EC1}"/>
                  </a:ext>
                </a:extLst>
              </p:cNvPr>
              <p:cNvSpPr/>
              <p:nvPr/>
            </p:nvSpPr>
            <p:spPr>
              <a:xfrm>
                <a:off x="5580313" y="1526711"/>
                <a:ext cx="203811" cy="203812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>
                <a:softEdge rad="38100"/>
              </a:effectLst>
            </p:spPr>
            <p:txBody>
              <a:bodyPr rtlCol="0" anchor="ctr"/>
              <a:lstStyle/>
              <a:p>
                <a:pPr algn="ctr" defTabSz="1218621">
                  <a:defRPr/>
                </a:pPr>
                <a:endParaRPr lang="en-US" sz="2399" kern="0">
                  <a:solidFill>
                    <a:prstClr val="white"/>
                  </a:solidFill>
                  <a:latin typeface="Segoe UI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9D4225A-899F-945B-1409-D830C78AECB6}"/>
                </a:ext>
              </a:extLst>
            </p:cNvPr>
            <p:cNvSpPr txBox="1"/>
            <p:nvPr/>
          </p:nvSpPr>
          <p:spPr>
            <a:xfrm>
              <a:off x="2909984" y="1464658"/>
              <a:ext cx="2631034" cy="20381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1218621">
                <a:defRPr/>
              </a:pPr>
              <a:r>
                <a:rPr lang="en-US" sz="1300" b="1" kern="0" dirty="0">
                  <a:solidFill>
                    <a:srgbClr val="FFFFFF"/>
                  </a:solidFill>
                  <a:latin typeface="Segoe UI"/>
                </a:rPr>
                <a:t>APR - MAY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931B10FE-77F1-2E16-F2A9-BC920ACB32D7}"/>
              </a:ext>
            </a:extLst>
          </p:cNvPr>
          <p:cNvSpPr txBox="1"/>
          <p:nvPr/>
        </p:nvSpPr>
        <p:spPr>
          <a:xfrm>
            <a:off x="644334" y="2931499"/>
            <a:ext cx="27969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529">
              <a:defRPr/>
            </a:pPr>
            <a:r>
              <a:rPr lang="en-US" sz="1600" b="1" dirty="0">
                <a:solidFill>
                  <a:prstClr val="black"/>
                </a:solidFill>
                <a:cs typeface="Segoe UI" panose="020B0502040204020203" pitchFamily="34" charset="0"/>
              </a:rPr>
              <a:t>PHASE 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19E68DD-0B1D-D4B5-B274-F412B7F7660B}"/>
              </a:ext>
            </a:extLst>
          </p:cNvPr>
          <p:cNvSpPr txBox="1"/>
          <p:nvPr/>
        </p:nvSpPr>
        <p:spPr>
          <a:xfrm>
            <a:off x="545499" y="4056431"/>
            <a:ext cx="9265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HASE 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8D6D100-AF5D-4E7D-5812-8EBC08A3F80F}"/>
              </a:ext>
            </a:extLst>
          </p:cNvPr>
          <p:cNvSpPr txBox="1"/>
          <p:nvPr/>
        </p:nvSpPr>
        <p:spPr>
          <a:xfrm>
            <a:off x="644334" y="3493965"/>
            <a:ext cx="27969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529">
              <a:defRPr/>
            </a:pPr>
            <a:r>
              <a:rPr lang="en-US" sz="1600" b="1" dirty="0">
                <a:solidFill>
                  <a:prstClr val="black"/>
                </a:solidFill>
                <a:cs typeface="Segoe UI" panose="020B0502040204020203" pitchFamily="34" charset="0"/>
              </a:rPr>
              <a:t>PHASE 2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05454AB-F83B-8BD5-8641-5598E20FC541}"/>
              </a:ext>
            </a:extLst>
          </p:cNvPr>
          <p:cNvGrpSpPr/>
          <p:nvPr/>
        </p:nvGrpSpPr>
        <p:grpSpPr>
          <a:xfrm>
            <a:off x="6286137" y="3420867"/>
            <a:ext cx="1344582" cy="329278"/>
            <a:chOff x="3862163" y="1401214"/>
            <a:chExt cx="2048779" cy="344556"/>
          </a:xfrm>
          <a:solidFill>
            <a:srgbClr val="002060"/>
          </a:solidFill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312EDF15-8AE7-3078-EF3B-046A64F3DCED}"/>
                </a:ext>
              </a:extLst>
            </p:cNvPr>
            <p:cNvSpPr/>
            <p:nvPr/>
          </p:nvSpPr>
          <p:spPr>
            <a:xfrm>
              <a:off x="3862163" y="1401214"/>
              <a:ext cx="2048779" cy="344556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>
              <a:innerShdw blurRad="63500" dist="38100" dir="16200000">
                <a:prstClr val="black">
                  <a:alpha val="5000"/>
                </a:prstClr>
              </a:innerShdw>
            </a:effectLst>
          </p:spPr>
          <p:txBody>
            <a:bodyPr rtlCol="0" anchor="ctr"/>
            <a:lstStyle/>
            <a:p>
              <a:pPr algn="ctr" defTabSz="1218621">
                <a:defRPr/>
              </a:pPr>
              <a:endParaRPr lang="en-US" sz="2399" kern="0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F16C49E-95DD-1F52-D248-F2B7DBA07102}"/>
                </a:ext>
              </a:extLst>
            </p:cNvPr>
            <p:cNvSpPr txBox="1"/>
            <p:nvPr/>
          </p:nvSpPr>
          <p:spPr>
            <a:xfrm>
              <a:off x="4250162" y="1464658"/>
              <a:ext cx="1221897" cy="209776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1218621">
                <a:defRPr/>
              </a:pPr>
              <a:r>
                <a:rPr lang="en-US" sz="1300" b="1" kern="0" dirty="0">
                  <a:solidFill>
                    <a:srgbClr val="FFFFFF"/>
                  </a:solidFill>
                  <a:latin typeface="Segoe UI"/>
                </a:rPr>
                <a:t>JAN - FEB</a:t>
              </a:r>
            </a:p>
          </p:txBody>
        </p: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055C8737-B5A2-7627-2E92-9199439B1C71}"/>
              </a:ext>
            </a:extLst>
          </p:cNvPr>
          <p:cNvSpPr txBox="1"/>
          <p:nvPr/>
        </p:nvSpPr>
        <p:spPr>
          <a:xfrm>
            <a:off x="303601" y="1042038"/>
            <a:ext cx="7437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Arial Black" panose="020B0A04020102020204" pitchFamily="34" charset="0"/>
              </a:rPr>
              <a:t>HERTZ High Impact Customer Sales &amp; Service Training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DEE2229-2E3D-076F-7101-A401D74C14C5}"/>
              </a:ext>
            </a:extLst>
          </p:cNvPr>
          <p:cNvGrpSpPr/>
          <p:nvPr/>
        </p:nvGrpSpPr>
        <p:grpSpPr>
          <a:xfrm>
            <a:off x="1563673" y="2124165"/>
            <a:ext cx="8317273" cy="401170"/>
            <a:chOff x="3343705" y="1994623"/>
            <a:chExt cx="8317273" cy="40117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F8FD953-939F-BAF2-C51B-23B14709FF12}"/>
                </a:ext>
              </a:extLst>
            </p:cNvPr>
            <p:cNvGrpSpPr/>
            <p:nvPr/>
          </p:nvGrpSpPr>
          <p:grpSpPr>
            <a:xfrm>
              <a:off x="3343705" y="1998129"/>
              <a:ext cx="7555943" cy="397664"/>
              <a:chOff x="4294212" y="5858408"/>
              <a:chExt cx="8064896" cy="397768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B7EAAFE4-3A12-B6EA-5C5F-18748E0302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359108" y="5859884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2F450BAD-10BD-4463-5541-42E1B4C1F9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94212" y="5859884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7B7B4167-2C45-1DC7-915D-4F5EE7A2ED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86300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1D162E2E-DAA6-CF78-3E31-48CE8AF543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50396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CCAB9C5-2078-0BC8-AFFD-8C01F92665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42484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839C7923-39C7-3AD5-E5E6-20118B4B5A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4572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A636CD4-587F-0799-B730-8F289B1525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98668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728131BC-D8E9-1009-6886-2143D79B62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62764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2D2C071C-E28C-14F2-64EF-2C022FA3C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054852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753A6362-E10F-52E8-3E9B-E66B9303D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846940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D1A902AE-0B01-5D00-0A75-AC4D73DB0E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567020" y="5860878"/>
                <a:ext cx="0" cy="32936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420FCE9A-DA7E-15C6-0106-FD5FFB6A0AA9}"/>
                  </a:ext>
                </a:extLst>
              </p:cNvPr>
              <p:cNvSpPr txBox="1"/>
              <p:nvPr/>
            </p:nvSpPr>
            <p:spPr>
              <a:xfrm>
                <a:off x="4366220" y="5858408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JULY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132EC70-A011-6913-2195-18A74C788065}"/>
                  </a:ext>
                </a:extLst>
              </p:cNvPr>
              <p:cNvSpPr txBox="1"/>
              <p:nvPr/>
            </p:nvSpPr>
            <p:spPr>
              <a:xfrm>
                <a:off x="5158308" y="5858408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AUG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C0E93054-5627-D9AE-8BA1-2F05F4AB1997}"/>
                  </a:ext>
                </a:extLst>
              </p:cNvPr>
              <p:cNvSpPr txBox="1"/>
              <p:nvPr/>
            </p:nvSpPr>
            <p:spPr>
              <a:xfrm>
                <a:off x="6022404" y="5858408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SEPT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2B8F7B7-2FBE-95A6-E9DE-732E0636D227}"/>
                  </a:ext>
                </a:extLst>
              </p:cNvPr>
              <p:cNvSpPr txBox="1"/>
              <p:nvPr/>
            </p:nvSpPr>
            <p:spPr>
              <a:xfrm>
                <a:off x="6777137" y="5877272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OCT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A617845-F058-36DC-79E4-F6B95D8B75AA}"/>
                  </a:ext>
                </a:extLst>
              </p:cNvPr>
              <p:cNvSpPr txBox="1"/>
              <p:nvPr/>
            </p:nvSpPr>
            <p:spPr>
              <a:xfrm>
                <a:off x="7606580" y="5877272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NOV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7BF0F921-AF48-B76B-5F5F-32497DE21D6C}"/>
                  </a:ext>
                </a:extLst>
              </p:cNvPr>
              <p:cNvSpPr txBox="1"/>
              <p:nvPr/>
            </p:nvSpPr>
            <p:spPr>
              <a:xfrm>
                <a:off x="8470676" y="5877272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DEC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D01B080-DEA0-03F5-CEDA-2CDBC4140684}"/>
                  </a:ext>
                </a:extLst>
              </p:cNvPr>
              <p:cNvSpPr txBox="1"/>
              <p:nvPr/>
            </p:nvSpPr>
            <p:spPr>
              <a:xfrm>
                <a:off x="9334772" y="5877272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JAN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9FF3CE60-CDE1-6B3B-1A5C-E5E71C80C7E9}"/>
                  </a:ext>
                </a:extLst>
              </p:cNvPr>
              <p:cNvSpPr txBox="1"/>
              <p:nvPr/>
            </p:nvSpPr>
            <p:spPr>
              <a:xfrm>
                <a:off x="10126860" y="5877272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FEB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042CD3-DADA-E172-BDC0-FBD4AAFA344D}"/>
                  </a:ext>
                </a:extLst>
              </p:cNvPr>
              <p:cNvSpPr txBox="1"/>
              <p:nvPr/>
            </p:nvSpPr>
            <p:spPr>
              <a:xfrm>
                <a:off x="10881593" y="5877272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MAR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B382153-8B2B-127D-23A5-265DA7430E47}"/>
                  </a:ext>
                </a:extLst>
              </p:cNvPr>
              <p:cNvSpPr txBox="1"/>
              <p:nvPr/>
            </p:nvSpPr>
            <p:spPr>
              <a:xfrm>
                <a:off x="11610090" y="5873874"/>
                <a:ext cx="685427" cy="378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1218621">
                  <a:defRPr/>
                </a:pPr>
                <a:r>
                  <a:rPr lang="en-US" sz="1500" b="1" kern="0" dirty="0">
                    <a:solidFill>
                      <a:schemeClr val="accent1"/>
                    </a:solidFill>
                    <a:latin typeface="Segoe UI"/>
                  </a:rPr>
                  <a:t>APR</a:t>
                </a:r>
              </a:p>
            </p:txBody>
          </p:sp>
        </p:grp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F13AE07-0590-BB1B-62BB-E16BE63FF01A}"/>
                </a:ext>
              </a:extLst>
            </p:cNvPr>
            <p:cNvCxnSpPr>
              <a:cxnSpLocks/>
            </p:cNvCxnSpPr>
            <p:nvPr/>
          </p:nvCxnSpPr>
          <p:spPr>
            <a:xfrm>
              <a:off x="11660978" y="1994623"/>
              <a:ext cx="0" cy="329278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</p:cxn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2E871EBC-9166-22B4-0805-BF7CE374B0F4}"/>
                </a:ext>
              </a:extLst>
            </p:cNvPr>
            <p:cNvSpPr txBox="1"/>
            <p:nvPr/>
          </p:nvSpPr>
          <p:spPr>
            <a:xfrm>
              <a:off x="10972485" y="2011612"/>
              <a:ext cx="642172" cy="3788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218621">
                <a:defRPr/>
              </a:pPr>
              <a:r>
                <a:rPr lang="en-US" sz="1500" b="1" kern="0" dirty="0">
                  <a:solidFill>
                    <a:schemeClr val="accent1"/>
                  </a:solidFill>
                  <a:latin typeface="Segoe UI"/>
                </a:rPr>
                <a:t>MAY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9DDDCF67-379B-9A97-1EFA-551F01E64748}"/>
              </a:ext>
            </a:extLst>
          </p:cNvPr>
          <p:cNvSpPr txBox="1"/>
          <p:nvPr/>
        </p:nvSpPr>
        <p:spPr>
          <a:xfrm>
            <a:off x="545499" y="4625092"/>
            <a:ext cx="9265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HASE 4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DFBEEC6-4DD6-01D6-0A0A-A1599D38C7D3}"/>
              </a:ext>
            </a:extLst>
          </p:cNvPr>
          <p:cNvCxnSpPr>
            <a:cxnSpLocks/>
          </p:cNvCxnSpPr>
          <p:nvPr/>
        </p:nvCxnSpPr>
        <p:spPr>
          <a:xfrm>
            <a:off x="10582447" y="2131664"/>
            <a:ext cx="0" cy="32927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5F58BAA-09F5-DAA8-118A-080D93C03F75}"/>
              </a:ext>
            </a:extLst>
          </p:cNvPr>
          <p:cNvSpPr txBox="1"/>
          <p:nvPr/>
        </p:nvSpPr>
        <p:spPr>
          <a:xfrm>
            <a:off x="9893954" y="2148653"/>
            <a:ext cx="642172" cy="37880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218621">
              <a:defRPr/>
            </a:pPr>
            <a:r>
              <a:rPr lang="en-US" sz="1500" b="1" kern="0" dirty="0">
                <a:solidFill>
                  <a:schemeClr val="accent1"/>
                </a:solidFill>
                <a:latin typeface="Segoe UI"/>
              </a:rPr>
              <a:t>JUNE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143B27C-4C0B-4246-44F9-2F4D3B80F583}"/>
              </a:ext>
            </a:extLst>
          </p:cNvPr>
          <p:cNvCxnSpPr>
            <a:cxnSpLocks/>
          </p:cNvCxnSpPr>
          <p:nvPr/>
        </p:nvCxnSpPr>
        <p:spPr>
          <a:xfrm>
            <a:off x="11251962" y="2118320"/>
            <a:ext cx="0" cy="32927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64EC2EE6-016B-447A-9954-EF5C47ECAC40}"/>
              </a:ext>
            </a:extLst>
          </p:cNvPr>
          <p:cNvSpPr txBox="1"/>
          <p:nvPr/>
        </p:nvSpPr>
        <p:spPr>
          <a:xfrm>
            <a:off x="10563469" y="2135309"/>
            <a:ext cx="642172" cy="37880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218621">
              <a:defRPr/>
            </a:pPr>
            <a:r>
              <a:rPr lang="en-US" sz="1500" b="1" kern="0" dirty="0">
                <a:solidFill>
                  <a:schemeClr val="accent1"/>
                </a:solidFill>
                <a:latin typeface="Segoe UI"/>
              </a:rPr>
              <a:t>JULY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F8B9D1E-D29C-1A4E-6E78-32CC08E2FC9B}"/>
              </a:ext>
            </a:extLst>
          </p:cNvPr>
          <p:cNvCxnSpPr>
            <a:cxnSpLocks/>
          </p:cNvCxnSpPr>
          <p:nvPr/>
        </p:nvCxnSpPr>
        <p:spPr>
          <a:xfrm>
            <a:off x="11912958" y="2110682"/>
            <a:ext cx="0" cy="32927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4A3FF1BC-62B5-1F07-2882-149E64E504EC}"/>
              </a:ext>
            </a:extLst>
          </p:cNvPr>
          <p:cNvSpPr txBox="1"/>
          <p:nvPr/>
        </p:nvSpPr>
        <p:spPr>
          <a:xfrm>
            <a:off x="11224465" y="2127671"/>
            <a:ext cx="642172" cy="37880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1218621">
              <a:defRPr/>
            </a:pPr>
            <a:r>
              <a:rPr lang="en-US" sz="1500" b="1" kern="0" dirty="0">
                <a:solidFill>
                  <a:schemeClr val="accent1"/>
                </a:solidFill>
                <a:latin typeface="Segoe UI"/>
              </a:rPr>
              <a:t>AUG</a:t>
            </a:r>
          </a:p>
        </p:txBody>
      </p:sp>
    </p:spTree>
    <p:extLst>
      <p:ext uri="{BB962C8B-B14F-4D97-AF65-F5344CB8AC3E}">
        <p14:creationId xmlns:p14="http://schemas.microsoft.com/office/powerpoint/2010/main" val="2657307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E68B3-3D2B-26E7-8D09-AB06B6160E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>
                <a:solidFill>
                  <a:schemeClr val="accent1"/>
                </a:solidFill>
                <a:latin typeface="Arial Black" panose="020B0A04020102020204" pitchFamily="34" charset="0"/>
              </a:rPr>
              <a:t>INTRODUCTION</a:t>
            </a:r>
            <a:br>
              <a:rPr lang="en-US" sz="4800" dirty="0">
                <a:latin typeface="Arial Black" panose="020B0A04020102020204" pitchFamily="34" charset="0"/>
              </a:rPr>
            </a:br>
            <a:r>
              <a:rPr lang="en-US" sz="4800" dirty="0">
                <a:latin typeface="Arial Black" panose="020B0A04020102020204" pitchFamily="34" charset="0"/>
              </a:rPr>
              <a:t>Purpos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7A2B57-5F04-B672-BFA3-33D21356CE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1534" y="3235073"/>
            <a:ext cx="4840628" cy="1715777"/>
          </a:xfrm>
        </p:spPr>
        <p:txBody>
          <a:bodyPr>
            <a:normAutofit fontScale="77500" lnSpcReduction="20000"/>
          </a:bodyPr>
          <a:lstStyle/>
          <a:p>
            <a:r>
              <a:rPr lang="en-US" b="0" dirty="0"/>
              <a:t>Date Visited: </a:t>
            </a:r>
            <a:r>
              <a:rPr lang="en-US" dirty="0"/>
              <a:t>29</a:t>
            </a:r>
            <a:r>
              <a:rPr lang="en-US" baseline="30000" dirty="0"/>
              <a:t>th</a:t>
            </a:r>
            <a:r>
              <a:rPr lang="en-US" dirty="0"/>
              <a:t> &amp; 30</a:t>
            </a:r>
            <a:r>
              <a:rPr lang="en-US" baseline="30000" dirty="0"/>
              <a:t>th</a:t>
            </a:r>
            <a:r>
              <a:rPr lang="en-US" dirty="0"/>
              <a:t> May </a:t>
            </a:r>
          </a:p>
          <a:p>
            <a:endParaRPr lang="en-US" b="0" dirty="0"/>
          </a:p>
          <a:p>
            <a:r>
              <a:rPr lang="en-US" b="0" dirty="0"/>
              <a:t>Locations Visited: </a:t>
            </a:r>
            <a:r>
              <a:rPr lang="en-US" dirty="0"/>
              <a:t>Umm Ramoul Branch </a:t>
            </a:r>
            <a:r>
              <a:rPr lang="en-US" b="0" dirty="0"/>
              <a:t>&amp; </a:t>
            </a:r>
          </a:p>
          <a:p>
            <a:r>
              <a:rPr lang="en-US" dirty="0"/>
              <a:t>		Airport Terminal 3</a:t>
            </a:r>
          </a:p>
          <a:p>
            <a:endParaRPr lang="en-US" b="0" dirty="0"/>
          </a:p>
          <a:p>
            <a:r>
              <a:rPr lang="en-US" b="0" dirty="0"/>
              <a:t>Visited by: </a:t>
            </a:r>
            <a:r>
              <a:rPr lang="en-US" dirty="0"/>
              <a:t>Fatma Alsagaf</a:t>
            </a:r>
          </a:p>
        </p:txBody>
      </p:sp>
      <p:pic>
        <p:nvPicPr>
          <p:cNvPr id="15" name="Picture 14" descr="A yellow sign with black text&#10;&#10;Description automatically generated">
            <a:extLst>
              <a:ext uri="{FF2B5EF4-FFF2-40B4-BE49-F238E27FC236}">
                <a16:creationId xmlns:a16="http://schemas.microsoft.com/office/drawing/2014/main" id="{EF8A7B10-5FAB-740D-1BF6-71A62C7C61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040" y="1815667"/>
            <a:ext cx="3476625" cy="1314450"/>
          </a:xfrm>
          <a:prstGeom prst="rect">
            <a:avLst/>
          </a:prstGeom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E85372C-9AB9-32BE-40F2-489CA328D08F}"/>
              </a:ext>
            </a:extLst>
          </p:cNvPr>
          <p:cNvSpPr txBox="1">
            <a:spLocks/>
          </p:cNvSpPr>
          <p:nvPr/>
        </p:nvSpPr>
        <p:spPr>
          <a:xfrm>
            <a:off x="648307" y="1412238"/>
            <a:ext cx="5842800" cy="3792356"/>
          </a:xfrm>
          <a:prstGeom prst="rect">
            <a:avLst/>
          </a:prstGeom>
        </p:spPr>
        <p:txBody>
          <a:bodyPr vert="horz" wrap="none" lIns="91440" tIns="0" rIns="9144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0" dirty="0"/>
          </a:p>
          <a:p>
            <a:pPr marL="342900" indent="-342900">
              <a:lnSpc>
                <a:spcPct val="22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Share HERTZ visit experience.</a:t>
            </a:r>
          </a:p>
          <a:p>
            <a:pPr marL="342900" indent="-342900">
              <a:lnSpc>
                <a:spcPct val="22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Discuss challenges faced by employees.</a:t>
            </a:r>
          </a:p>
          <a:p>
            <a:pPr marL="342900" indent="-342900">
              <a:lnSpc>
                <a:spcPct val="22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Present identified gaps.</a:t>
            </a:r>
          </a:p>
          <a:p>
            <a:pPr marL="342900" indent="-342900">
              <a:lnSpc>
                <a:spcPct val="22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Share recommended training session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1DAC783-6590-BF15-94B5-FD050DA1C913}"/>
              </a:ext>
            </a:extLst>
          </p:cNvPr>
          <p:cNvSpPr/>
          <p:nvPr/>
        </p:nvSpPr>
        <p:spPr>
          <a:xfrm>
            <a:off x="6748040" y="3124357"/>
            <a:ext cx="4710897" cy="18874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114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88E24FD-F32F-9DCA-E527-1AA3604CA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Back Office: </a:t>
            </a:r>
            <a:r>
              <a:rPr lang="en-US" sz="3200" dirty="0">
                <a:latin typeface="Arial Black" panose="020B0A04020102020204" pitchFamily="34" charset="0"/>
              </a:rPr>
              <a:t>Challenges &amp; Areas of Interest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42BA732-E6DD-C66E-607A-8AFAD860D4E8}"/>
              </a:ext>
            </a:extLst>
          </p:cNvPr>
          <p:cNvSpPr/>
          <p:nvPr/>
        </p:nvSpPr>
        <p:spPr>
          <a:xfrm>
            <a:off x="706056" y="1305530"/>
            <a:ext cx="5242863" cy="556076"/>
          </a:xfrm>
          <a:custGeom>
            <a:avLst/>
            <a:gdLst>
              <a:gd name="connsiteX0" fmla="*/ 0 w 3798093"/>
              <a:gd name="connsiteY0" fmla="*/ 0 h 547200"/>
              <a:gd name="connsiteX1" fmla="*/ 3798093 w 3798093"/>
              <a:gd name="connsiteY1" fmla="*/ 0 h 547200"/>
              <a:gd name="connsiteX2" fmla="*/ 3798093 w 3798093"/>
              <a:gd name="connsiteY2" fmla="*/ 547200 h 547200"/>
              <a:gd name="connsiteX3" fmla="*/ 0 w 3798093"/>
              <a:gd name="connsiteY3" fmla="*/ 547200 h 547200"/>
              <a:gd name="connsiteX4" fmla="*/ 0 w 3798093"/>
              <a:gd name="connsiteY4" fmla="*/ 0 h 54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547200">
                <a:moveTo>
                  <a:pt x="0" y="0"/>
                </a:moveTo>
                <a:lnTo>
                  <a:pt x="3798093" y="0"/>
                </a:lnTo>
                <a:lnTo>
                  <a:pt x="3798093" y="547200"/>
                </a:lnTo>
                <a:lnTo>
                  <a:pt x="0" y="54720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77216" rIns="135128" bIns="77216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b="1" kern="1200" dirty="0"/>
              <a:t>Challeng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275E03C-0524-91A9-8B41-AA65EAF880D0}"/>
              </a:ext>
            </a:extLst>
          </p:cNvPr>
          <p:cNvSpPr/>
          <p:nvPr/>
        </p:nvSpPr>
        <p:spPr>
          <a:xfrm>
            <a:off x="706056" y="1861606"/>
            <a:ext cx="5242863" cy="4573918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C00000">
                <a:alpha val="90000"/>
              </a:srgb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Wrong promises about car exchange by front-line staff.
No penalties for payment default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Manual charging system. 
Time-consuming tasks with no time for learning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Lack of learning opportunities. 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No training for handling customers or angr</a:t>
            </a:r>
            <a:r>
              <a:rPr lang="en-US" sz="1600" dirty="0"/>
              <a:t>y customers. </a:t>
            </a:r>
            <a:r>
              <a:rPr lang="en-US" sz="1600" kern="1200" dirty="0"/>
              <a:t>
</a:t>
            </a:r>
            <a:r>
              <a:rPr lang="en-US" sz="1600" dirty="0"/>
              <a:t>Focus is solely on satisfying customer complaints, disregarding the employee's perspective.</a:t>
            </a:r>
            <a:r>
              <a:rPr lang="en-US" sz="1600" kern="1200" dirty="0"/>
              <a:t>
Mismatch between quotation and reservation rates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1659B12-F9AE-C6E6-8987-4FC6CA8E4FB2}"/>
              </a:ext>
            </a:extLst>
          </p:cNvPr>
          <p:cNvSpPr/>
          <p:nvPr/>
        </p:nvSpPr>
        <p:spPr>
          <a:xfrm>
            <a:off x="6243082" y="1305530"/>
            <a:ext cx="5242862" cy="556076"/>
          </a:xfrm>
          <a:custGeom>
            <a:avLst/>
            <a:gdLst>
              <a:gd name="connsiteX0" fmla="*/ 0 w 3798093"/>
              <a:gd name="connsiteY0" fmla="*/ 0 h 547200"/>
              <a:gd name="connsiteX1" fmla="*/ 3798093 w 3798093"/>
              <a:gd name="connsiteY1" fmla="*/ 0 h 547200"/>
              <a:gd name="connsiteX2" fmla="*/ 3798093 w 3798093"/>
              <a:gd name="connsiteY2" fmla="*/ 547200 h 547200"/>
              <a:gd name="connsiteX3" fmla="*/ 0 w 3798093"/>
              <a:gd name="connsiteY3" fmla="*/ 547200 h 547200"/>
              <a:gd name="connsiteX4" fmla="*/ 0 w 3798093"/>
              <a:gd name="connsiteY4" fmla="*/ 0 h 54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547200">
                <a:moveTo>
                  <a:pt x="0" y="0"/>
                </a:moveTo>
                <a:lnTo>
                  <a:pt x="3798093" y="0"/>
                </a:lnTo>
                <a:lnTo>
                  <a:pt x="3798093" y="547200"/>
                </a:lnTo>
                <a:lnTo>
                  <a:pt x="0" y="54720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77216" rIns="135128" bIns="77216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b="1" kern="1200" dirty="0"/>
              <a:t>Interest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B9995EB-5208-1824-E033-C68C82F55921}"/>
              </a:ext>
            </a:extLst>
          </p:cNvPr>
          <p:cNvSpPr/>
          <p:nvPr/>
        </p:nvSpPr>
        <p:spPr>
          <a:xfrm>
            <a:off x="6243082" y="1861606"/>
            <a:ext cx="5242862" cy="2571498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00B050">
                <a:alpha val="90000"/>
              </a:srgb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US" sz="1600" kern="1200" dirty="0"/>
              <a:t>Basic Excel skills.
How to c</a:t>
            </a:r>
            <a:r>
              <a:rPr lang="en-US" sz="1600" dirty="0"/>
              <a:t>ommunicate with customers (face-to face and telephone)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Handling escalations and irate customer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Business email/written communication
Understanding cross-departmental processes.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338BC6A-956D-A847-F534-54E8D0E504DA}"/>
              </a:ext>
            </a:extLst>
          </p:cNvPr>
          <p:cNvSpPr/>
          <p:nvPr/>
        </p:nvSpPr>
        <p:spPr>
          <a:xfrm>
            <a:off x="6243082" y="4606198"/>
            <a:ext cx="5242862" cy="556076"/>
          </a:xfrm>
          <a:custGeom>
            <a:avLst/>
            <a:gdLst>
              <a:gd name="connsiteX0" fmla="*/ 0 w 3798093"/>
              <a:gd name="connsiteY0" fmla="*/ 0 h 547200"/>
              <a:gd name="connsiteX1" fmla="*/ 3798093 w 3798093"/>
              <a:gd name="connsiteY1" fmla="*/ 0 h 547200"/>
              <a:gd name="connsiteX2" fmla="*/ 3798093 w 3798093"/>
              <a:gd name="connsiteY2" fmla="*/ 547200 h 547200"/>
              <a:gd name="connsiteX3" fmla="*/ 0 w 3798093"/>
              <a:gd name="connsiteY3" fmla="*/ 547200 h 547200"/>
              <a:gd name="connsiteX4" fmla="*/ 0 w 3798093"/>
              <a:gd name="connsiteY4" fmla="*/ 0 h 54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547200">
                <a:moveTo>
                  <a:pt x="0" y="0"/>
                </a:moveTo>
                <a:lnTo>
                  <a:pt x="3798093" y="0"/>
                </a:lnTo>
                <a:lnTo>
                  <a:pt x="3798093" y="547200"/>
                </a:lnTo>
                <a:lnTo>
                  <a:pt x="0" y="547200"/>
                </a:ln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77216" rIns="135128" bIns="77216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b="1" kern="1200" dirty="0">
                <a:solidFill>
                  <a:schemeClr val="bg1"/>
                </a:solidFill>
              </a:rPr>
              <a:t>Value Add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093F780-1AA6-E9EF-E821-0FA18E6C4A10}"/>
              </a:ext>
            </a:extLst>
          </p:cNvPr>
          <p:cNvSpPr/>
          <p:nvPr/>
        </p:nvSpPr>
        <p:spPr>
          <a:xfrm>
            <a:off x="6243082" y="5162274"/>
            <a:ext cx="5242862" cy="1273250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002060">
                <a:alpha val="90000"/>
              </a:srgb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Company progress updates.
Induction for new joiner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004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88E24FD-F32F-9DCA-E527-1AA3604CA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Front Office: </a:t>
            </a:r>
            <a:r>
              <a:rPr lang="en-US" sz="3200" dirty="0">
                <a:latin typeface="Arial Black" panose="020B0A04020102020204" pitchFamily="34" charset="0"/>
              </a:rPr>
              <a:t>Challenges &amp; Areas of Interest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42BA732-E6DD-C66E-607A-8AFAD860D4E8}"/>
              </a:ext>
            </a:extLst>
          </p:cNvPr>
          <p:cNvSpPr/>
          <p:nvPr/>
        </p:nvSpPr>
        <p:spPr>
          <a:xfrm>
            <a:off x="706056" y="1305530"/>
            <a:ext cx="5242863" cy="556076"/>
          </a:xfrm>
          <a:custGeom>
            <a:avLst/>
            <a:gdLst>
              <a:gd name="connsiteX0" fmla="*/ 0 w 3798093"/>
              <a:gd name="connsiteY0" fmla="*/ 0 h 547200"/>
              <a:gd name="connsiteX1" fmla="*/ 3798093 w 3798093"/>
              <a:gd name="connsiteY1" fmla="*/ 0 h 547200"/>
              <a:gd name="connsiteX2" fmla="*/ 3798093 w 3798093"/>
              <a:gd name="connsiteY2" fmla="*/ 547200 h 547200"/>
              <a:gd name="connsiteX3" fmla="*/ 0 w 3798093"/>
              <a:gd name="connsiteY3" fmla="*/ 547200 h 547200"/>
              <a:gd name="connsiteX4" fmla="*/ 0 w 3798093"/>
              <a:gd name="connsiteY4" fmla="*/ 0 h 54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547200">
                <a:moveTo>
                  <a:pt x="0" y="0"/>
                </a:moveTo>
                <a:lnTo>
                  <a:pt x="3798093" y="0"/>
                </a:lnTo>
                <a:lnTo>
                  <a:pt x="3798093" y="547200"/>
                </a:lnTo>
                <a:lnTo>
                  <a:pt x="0" y="54720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77216" rIns="135128" bIns="77216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b="1" kern="1200" dirty="0"/>
              <a:t>Challeng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275E03C-0524-91A9-8B41-AA65EAF880D0}"/>
              </a:ext>
            </a:extLst>
          </p:cNvPr>
          <p:cNvSpPr/>
          <p:nvPr/>
        </p:nvSpPr>
        <p:spPr>
          <a:xfrm>
            <a:off x="706056" y="1861606"/>
            <a:ext cx="5242863" cy="4573918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C00000">
                <a:alpha val="90000"/>
              </a:srgb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Lack of cars for bookings and convincing customers to accept alternatives</a:t>
            </a:r>
          </a:p>
          <a:p>
            <a:pPr marL="171450" lvl="1" indent="-171450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US" sz="1600" kern="1200" dirty="0"/>
              <a:t>No charge for overbooking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Ideas/</a:t>
            </a:r>
            <a:r>
              <a:rPr lang="en-US" sz="1600" dirty="0"/>
              <a:t>feedback is not taken into consideration 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Slow or unreliable system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Lack of seating for customer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VIP customer complaint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Confusing </a:t>
            </a:r>
            <a:r>
              <a:rPr lang="en-US" sz="1600" dirty="0"/>
              <a:t>and lengthy </a:t>
            </a:r>
            <a:r>
              <a:rPr lang="en-US" sz="1600" kern="1200" dirty="0"/>
              <a:t>reservation confirmation </a:t>
            </a:r>
            <a:r>
              <a:rPr lang="en-US" sz="1600" dirty="0"/>
              <a:t>email</a:t>
            </a:r>
            <a:r>
              <a:rPr lang="en-US" sz="1600" kern="1200" dirty="0"/>
              <a:t>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Credit card and international license issue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No Apple Pay option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Inconsistent CSR practices.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1659B12-F9AE-C6E6-8987-4FC6CA8E4FB2}"/>
              </a:ext>
            </a:extLst>
          </p:cNvPr>
          <p:cNvSpPr/>
          <p:nvPr/>
        </p:nvSpPr>
        <p:spPr>
          <a:xfrm>
            <a:off x="6243082" y="1305530"/>
            <a:ext cx="5242862" cy="556076"/>
          </a:xfrm>
          <a:custGeom>
            <a:avLst/>
            <a:gdLst>
              <a:gd name="connsiteX0" fmla="*/ 0 w 3798093"/>
              <a:gd name="connsiteY0" fmla="*/ 0 h 547200"/>
              <a:gd name="connsiteX1" fmla="*/ 3798093 w 3798093"/>
              <a:gd name="connsiteY1" fmla="*/ 0 h 547200"/>
              <a:gd name="connsiteX2" fmla="*/ 3798093 w 3798093"/>
              <a:gd name="connsiteY2" fmla="*/ 547200 h 547200"/>
              <a:gd name="connsiteX3" fmla="*/ 0 w 3798093"/>
              <a:gd name="connsiteY3" fmla="*/ 547200 h 547200"/>
              <a:gd name="connsiteX4" fmla="*/ 0 w 3798093"/>
              <a:gd name="connsiteY4" fmla="*/ 0 h 54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547200">
                <a:moveTo>
                  <a:pt x="0" y="0"/>
                </a:moveTo>
                <a:lnTo>
                  <a:pt x="3798093" y="0"/>
                </a:lnTo>
                <a:lnTo>
                  <a:pt x="3798093" y="547200"/>
                </a:lnTo>
                <a:lnTo>
                  <a:pt x="0" y="54720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77216" rIns="135128" bIns="77216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b="1" kern="1200" dirty="0"/>
              <a:t>Interest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B9995EB-5208-1824-E033-C68C82F55921}"/>
              </a:ext>
            </a:extLst>
          </p:cNvPr>
          <p:cNvSpPr/>
          <p:nvPr/>
        </p:nvSpPr>
        <p:spPr>
          <a:xfrm>
            <a:off x="6243082" y="1861607"/>
            <a:ext cx="5242862" cy="2478745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00B050">
                <a:alpha val="90000"/>
              </a:srgb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Understanding &amp; dealing with different customer type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Dealing with angry customers.</a:t>
            </a:r>
          </a:p>
          <a:p>
            <a:pPr marL="171450" lvl="1" indent="-171450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US" sz="1600" kern="1200" dirty="0"/>
              <a:t>Negotiation skill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Product knowledge, including terms and conditions. 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64268DE-72C8-B6C9-3F31-32CCA8E84C03}"/>
              </a:ext>
            </a:extLst>
          </p:cNvPr>
          <p:cNvSpPr/>
          <p:nvPr/>
        </p:nvSpPr>
        <p:spPr>
          <a:xfrm>
            <a:off x="6243082" y="4606198"/>
            <a:ext cx="5242862" cy="556076"/>
          </a:xfrm>
          <a:custGeom>
            <a:avLst/>
            <a:gdLst>
              <a:gd name="connsiteX0" fmla="*/ 0 w 3798093"/>
              <a:gd name="connsiteY0" fmla="*/ 0 h 547200"/>
              <a:gd name="connsiteX1" fmla="*/ 3798093 w 3798093"/>
              <a:gd name="connsiteY1" fmla="*/ 0 h 547200"/>
              <a:gd name="connsiteX2" fmla="*/ 3798093 w 3798093"/>
              <a:gd name="connsiteY2" fmla="*/ 547200 h 547200"/>
              <a:gd name="connsiteX3" fmla="*/ 0 w 3798093"/>
              <a:gd name="connsiteY3" fmla="*/ 547200 h 547200"/>
              <a:gd name="connsiteX4" fmla="*/ 0 w 3798093"/>
              <a:gd name="connsiteY4" fmla="*/ 0 h 54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547200">
                <a:moveTo>
                  <a:pt x="0" y="0"/>
                </a:moveTo>
                <a:lnTo>
                  <a:pt x="3798093" y="0"/>
                </a:lnTo>
                <a:lnTo>
                  <a:pt x="3798093" y="547200"/>
                </a:lnTo>
                <a:lnTo>
                  <a:pt x="0" y="547200"/>
                </a:ln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77216" rIns="135128" bIns="77216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b="1" kern="1200" dirty="0">
                <a:solidFill>
                  <a:schemeClr val="bg1"/>
                </a:solidFill>
              </a:rPr>
              <a:t>Value Ad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B4B932B-D635-8B25-0F07-1DEBDDEC878C}"/>
              </a:ext>
            </a:extLst>
          </p:cNvPr>
          <p:cNvSpPr/>
          <p:nvPr/>
        </p:nvSpPr>
        <p:spPr>
          <a:xfrm>
            <a:off x="6243082" y="5162274"/>
            <a:ext cx="5242862" cy="1273250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002060">
                <a:alpha val="90000"/>
              </a:srgb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Larger car display screen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Email notifications for car availability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Consistent &amp; world class customer service practice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898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8FCE1B5-0CCE-CF7B-79E7-868C956FA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Google Review: </a:t>
            </a:r>
            <a:r>
              <a:rPr lang="en-US" sz="3200" dirty="0">
                <a:latin typeface="Arial Black" panose="020B0A04020102020204" pitchFamily="34" charset="0"/>
              </a:rPr>
              <a:t>Customer Comm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2895AE-99D5-3F53-CC05-9DE3DBD4A3D4}"/>
              </a:ext>
            </a:extLst>
          </p:cNvPr>
          <p:cNvSpPr txBox="1"/>
          <p:nvPr/>
        </p:nvSpPr>
        <p:spPr>
          <a:xfrm>
            <a:off x="291782" y="1185727"/>
            <a:ext cx="9515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>
                <a:solidFill>
                  <a:srgbClr val="C00000"/>
                </a:solidFill>
              </a:rPr>
              <a:t>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BE0A7D9-9C1C-5F56-31AC-E60249A799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0451"/>
          <a:stretch/>
        </p:blipFill>
        <p:spPr>
          <a:xfrm>
            <a:off x="328345" y="3945374"/>
            <a:ext cx="3625161" cy="108213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E07F5A-4F13-4339-1904-1B80AF53BF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345" y="1614096"/>
            <a:ext cx="4191904" cy="2186817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284DA7C-FC5D-248C-35DC-CD625ACD093E}"/>
              </a:ext>
            </a:extLst>
          </p:cNvPr>
          <p:cNvSpPr txBox="1"/>
          <p:nvPr/>
        </p:nvSpPr>
        <p:spPr>
          <a:xfrm>
            <a:off x="10525518" y="6273927"/>
            <a:ext cx="16664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*Review of last quart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B64C8F4-7EFF-AA8A-E77A-39C54D7F79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5412" y="1087248"/>
            <a:ext cx="4694327" cy="180609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03E70C0-0DD3-9E3C-A33F-CE977DC1AF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8345" y="5101673"/>
            <a:ext cx="4732430" cy="131075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C370D03-F188-55A9-BDAE-B4EBD38B83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2873" y="4949260"/>
            <a:ext cx="4770533" cy="146316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6CC74AC-88AC-D75D-AB3D-585000EC49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8696" y="2820876"/>
            <a:ext cx="4694327" cy="1455546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5A5FF54-F72B-DACD-F3CE-D334534BA7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32553" y="3091903"/>
            <a:ext cx="4740051" cy="108975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6FAF56C-C14B-EE24-8B80-788F1E3AB1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62561" y="1157468"/>
            <a:ext cx="4229467" cy="1074513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CBC09CF-C682-F7F4-750D-B665234E8E8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53506" y="4349736"/>
            <a:ext cx="4686706" cy="1150720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144F0F9-F057-C417-E48A-D86489E6EC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16492" y="4309124"/>
            <a:ext cx="2347163" cy="1280271"/>
          </a:xfrm>
          <a:prstGeom prst="rect">
            <a:avLst/>
          </a:prstGeom>
          <a:ln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689723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C74AF02-C1BE-171C-849B-76E0BDB9E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28" y="1856183"/>
            <a:ext cx="3858221" cy="1828897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AE708D0-25B3-A4D8-4666-B19D3E09A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Google Review: </a:t>
            </a:r>
            <a:r>
              <a:rPr lang="en-US" sz="3200" dirty="0">
                <a:latin typeface="Arial Black" panose="020B0A04020102020204" pitchFamily="34" charset="0"/>
              </a:rPr>
              <a:t>Customer Comm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E5FB3A-AFB8-6881-86EF-31F60A878F94}"/>
              </a:ext>
            </a:extLst>
          </p:cNvPr>
          <p:cNvSpPr txBox="1"/>
          <p:nvPr/>
        </p:nvSpPr>
        <p:spPr>
          <a:xfrm>
            <a:off x="291782" y="1185727"/>
            <a:ext cx="34498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>
                <a:solidFill>
                  <a:srgbClr val="C00000"/>
                </a:solidFill>
              </a:rPr>
              <a:t>Roadside Support / Call Cent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4F1B53-6543-D742-85B1-723759C3B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0569" y="3549103"/>
            <a:ext cx="3796979" cy="947745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AAA0E56-7350-AAC6-1113-73E1AAD099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0409" y="4636891"/>
            <a:ext cx="4587638" cy="1615580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E46C90D-8567-F34D-A954-5CB26BE7A1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2682" y="1838111"/>
            <a:ext cx="4740051" cy="147078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B263C4-78FB-8960-EF5E-F4F8F59AE7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228" y="3794808"/>
            <a:ext cx="4724809" cy="1684166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27848FC-8A34-B011-A7F1-43DDCE5A76E1}"/>
              </a:ext>
            </a:extLst>
          </p:cNvPr>
          <p:cNvSpPr txBox="1"/>
          <p:nvPr/>
        </p:nvSpPr>
        <p:spPr>
          <a:xfrm>
            <a:off x="10525518" y="6273927"/>
            <a:ext cx="16664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*Review of last quarter</a:t>
            </a:r>
          </a:p>
        </p:txBody>
      </p:sp>
    </p:spTree>
    <p:extLst>
      <p:ext uri="{BB962C8B-B14F-4D97-AF65-F5344CB8AC3E}">
        <p14:creationId xmlns:p14="http://schemas.microsoft.com/office/powerpoint/2010/main" val="927568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FE17B44-866F-ACCE-AB9D-1D9C5A860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Google Review: </a:t>
            </a:r>
            <a:r>
              <a:rPr lang="en-US" sz="3200" dirty="0">
                <a:latin typeface="Arial Black" panose="020B0A04020102020204" pitchFamily="34" charset="0"/>
              </a:rPr>
              <a:t>Customer Comm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D37876-7FA7-6480-A1CB-359B99436A3A}"/>
              </a:ext>
            </a:extLst>
          </p:cNvPr>
          <p:cNvSpPr txBox="1"/>
          <p:nvPr/>
        </p:nvSpPr>
        <p:spPr>
          <a:xfrm>
            <a:off x="291782" y="1185727"/>
            <a:ext cx="38126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>
                <a:solidFill>
                  <a:srgbClr val="C00000"/>
                </a:solidFill>
              </a:rPr>
              <a:t>Reservations /Car Pick or Drop-off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E698E5-5E6D-C4B1-EDE3-30D0665CD1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782" y="1828678"/>
            <a:ext cx="3455526" cy="1991806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3F0D29F-32BA-CAB6-F229-97773C79EE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2830" y="5099745"/>
            <a:ext cx="4907436" cy="1417443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605DE4-6666-B1F6-ED79-9309346439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7308" y="1761887"/>
            <a:ext cx="3979899" cy="2047580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225F632-B2E0-FDDD-5D06-A2FFE126FD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1782" y="3776659"/>
            <a:ext cx="4114009" cy="1510206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FDB7B4B-144C-E022-8DB5-83527F0C3CCB}"/>
              </a:ext>
            </a:extLst>
          </p:cNvPr>
          <p:cNvSpPr txBox="1"/>
          <p:nvPr/>
        </p:nvSpPr>
        <p:spPr>
          <a:xfrm>
            <a:off x="10525518" y="6273927"/>
            <a:ext cx="16664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*Review of last quart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ACB65C-E012-66E8-B46E-0B1149082D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27207" y="1622945"/>
            <a:ext cx="3580418" cy="2160996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79731D-D486-9942-BB55-37EAC8C35E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5791" y="3911378"/>
            <a:ext cx="4328535" cy="1188367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BCCFF4-E669-A8BF-09BC-1D5B801CE9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1782" y="5297882"/>
            <a:ext cx="4328535" cy="1219306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7D53D0-7F95-5714-2B3F-1CA89714394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34325" y="3563139"/>
            <a:ext cx="3470141" cy="1510205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388734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8FCE1B5-0CCE-CF7B-79E7-868C956FA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Google Review: </a:t>
            </a:r>
            <a:r>
              <a:rPr lang="en-US" sz="3200" dirty="0">
                <a:latin typeface="Arial Black" panose="020B0A04020102020204" pitchFamily="34" charset="0"/>
              </a:rPr>
              <a:t>Customer Comm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2895AE-99D5-3F53-CC05-9DE3DBD4A3D4}"/>
              </a:ext>
            </a:extLst>
          </p:cNvPr>
          <p:cNvSpPr txBox="1"/>
          <p:nvPr/>
        </p:nvSpPr>
        <p:spPr>
          <a:xfrm>
            <a:off x="291782" y="1185727"/>
            <a:ext cx="10252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>
                <a:solidFill>
                  <a:srgbClr val="C00000"/>
                </a:solidFill>
              </a:rPr>
              <a:t>Charg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79F6B-C357-0CF1-148B-16291E65C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346" y="1733007"/>
            <a:ext cx="4168012" cy="1695993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182B26-494B-2BFC-AC03-6EC759992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273" y="3576170"/>
            <a:ext cx="4168013" cy="1330020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CF207E-31B8-F7F9-BF8D-0C5C8917C1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273" y="5187293"/>
            <a:ext cx="4168012" cy="969959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CA55C2A-A5D4-87E6-73BC-AD9360CDFD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7739" y="4166717"/>
            <a:ext cx="3625162" cy="1958619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DA1812B-B084-646B-42D8-35ACC80341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2425" y="1732783"/>
            <a:ext cx="3733628" cy="2375945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87CF45A-CBCB-4949-43E4-D74EE2599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1354" y="3807715"/>
            <a:ext cx="3339810" cy="101870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97AF50B-5987-5606-5640-F3AE8DFFA1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3606" y="5101423"/>
            <a:ext cx="3638222" cy="1421088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9866C79-6DD7-A26F-79BE-51FFA77A40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21354" y="1927891"/>
            <a:ext cx="3317315" cy="1606930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3D969B2-9492-7BFA-A42A-5BFEC1417B87}"/>
              </a:ext>
            </a:extLst>
          </p:cNvPr>
          <p:cNvSpPr txBox="1"/>
          <p:nvPr/>
        </p:nvSpPr>
        <p:spPr>
          <a:xfrm>
            <a:off x="10525518" y="6273927"/>
            <a:ext cx="16664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*Review of last quarter</a:t>
            </a:r>
          </a:p>
        </p:txBody>
      </p:sp>
    </p:spTree>
    <p:extLst>
      <p:ext uri="{BB962C8B-B14F-4D97-AF65-F5344CB8AC3E}">
        <p14:creationId xmlns:p14="http://schemas.microsoft.com/office/powerpoint/2010/main" val="1266393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88E24FD-F32F-9DCA-E527-1AA3604CA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782" y="201377"/>
            <a:ext cx="10935661" cy="956091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  <a:latin typeface="Arial Black" panose="020B0A04020102020204" pitchFamily="34" charset="0"/>
              </a:rPr>
              <a:t>Observation: </a:t>
            </a:r>
            <a:r>
              <a:rPr lang="en-US" sz="3200" dirty="0">
                <a:latin typeface="Arial Black" panose="020B0A04020102020204" pitchFamily="34" charset="0"/>
              </a:rPr>
              <a:t>Identified Ga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DD1ECA7-C9FD-3900-C2C9-383E1CB65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1757" y="2723473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3172ED0-057C-1452-E6E5-1DC16725A5D9}"/>
              </a:ext>
            </a:extLst>
          </p:cNvPr>
          <p:cNvSpPr/>
          <p:nvPr/>
        </p:nvSpPr>
        <p:spPr>
          <a:xfrm>
            <a:off x="505427" y="1677184"/>
            <a:ext cx="5590573" cy="4411100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6">
                <a:alpha val="90000"/>
              </a:scheme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Lack of body language/eye contact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Certain CSRs are serious/lack of smile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No personalized greetings or small talk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Poor communication clarity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No identification of needs</a:t>
            </a:r>
            <a:endParaRPr lang="en-US" sz="1600" kern="1200" dirty="0"/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Poor office ambience and cleanliness</a:t>
            </a:r>
          </a:p>
          <a:p>
            <a:pPr marL="171450" lvl="1" indent="-171450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US" sz="1600" kern="1200" dirty="0"/>
              <a:t>Directions </a:t>
            </a:r>
            <a:r>
              <a:rPr lang="en-US" sz="1600" dirty="0"/>
              <a:t>for customer service table not clear </a:t>
            </a:r>
            <a:endParaRPr lang="en-US" sz="1600" kern="1200" dirty="0"/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Interruptions by drivers/seniors during customer interactions.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System – manual entry of payment</a:t>
            </a:r>
            <a:endParaRPr lang="en-US" sz="1600" kern="1200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70CDBE4-CF76-8E8B-64BC-378610B25DBB}"/>
              </a:ext>
            </a:extLst>
          </p:cNvPr>
          <p:cNvSpPr/>
          <p:nvPr/>
        </p:nvSpPr>
        <p:spPr>
          <a:xfrm>
            <a:off x="6436812" y="1689376"/>
            <a:ext cx="5590573" cy="4411100"/>
          </a:xfrm>
          <a:custGeom>
            <a:avLst/>
            <a:gdLst>
              <a:gd name="connsiteX0" fmla="*/ 0 w 3798093"/>
              <a:gd name="connsiteY0" fmla="*/ 0 h 4068089"/>
              <a:gd name="connsiteX1" fmla="*/ 3798093 w 3798093"/>
              <a:gd name="connsiteY1" fmla="*/ 0 h 4068089"/>
              <a:gd name="connsiteX2" fmla="*/ 3798093 w 3798093"/>
              <a:gd name="connsiteY2" fmla="*/ 4068089 h 4068089"/>
              <a:gd name="connsiteX3" fmla="*/ 0 w 3798093"/>
              <a:gd name="connsiteY3" fmla="*/ 4068089 h 4068089"/>
              <a:gd name="connsiteX4" fmla="*/ 0 w 3798093"/>
              <a:gd name="connsiteY4" fmla="*/ 0 h 406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8093" h="4068089">
                <a:moveTo>
                  <a:pt x="0" y="0"/>
                </a:moveTo>
                <a:lnTo>
                  <a:pt x="3798093" y="0"/>
                </a:lnTo>
                <a:lnTo>
                  <a:pt x="3798093" y="4068089"/>
                </a:lnTo>
                <a:lnTo>
                  <a:pt x="0" y="4068089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6">
                <a:alpha val="90000"/>
              </a:schemeClr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346" tIns="101346" rIns="135128" bIns="152019" numCol="1" spcCol="1270" anchor="t" anchorCtr="0">
            <a:noAutofit/>
          </a:bodyPr>
          <a:lstStyle/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Inconsistent customer service</a:t>
            </a:r>
          </a:p>
          <a:p>
            <a:pPr marL="171450" lvl="1" indent="-171450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US" sz="1600" dirty="0"/>
              <a:t>Service is slow/ not great / no smiles  </a:t>
            </a:r>
            <a:endParaRPr lang="en-US" sz="1600" kern="1200" dirty="0"/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Staff not helpful and look exhausted to receive customers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800HERTZ main line unable to assist or support on inquiries of rental conditions &amp; contract. Mostly unreachable and no call back. 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Delay in road assistance &amp; customer support queries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Unnecessary charges made / duplication of charges / charges in credit cards after several months of contract closing / customer not aware of charges. </a:t>
            </a:r>
          </a:p>
          <a:p>
            <a:pPr marL="171450" lvl="1" indent="-171450" algn="l" defTabSz="8445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dirty="0"/>
              <a:t>Big reserved car not available for big family upon arriv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EF9ED11-4CFA-AD09-AB2E-ADD53343E798}"/>
              </a:ext>
            </a:extLst>
          </p:cNvPr>
          <p:cNvSpPr txBox="1"/>
          <p:nvPr/>
        </p:nvSpPr>
        <p:spPr>
          <a:xfrm>
            <a:off x="505427" y="1318004"/>
            <a:ext cx="2645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IN PERSON OBSERV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27CA674-7111-C02F-1894-6FAB1F04707F}"/>
              </a:ext>
            </a:extLst>
          </p:cNvPr>
          <p:cNvSpPr txBox="1"/>
          <p:nvPr/>
        </p:nvSpPr>
        <p:spPr>
          <a:xfrm>
            <a:off x="6436812" y="1322844"/>
            <a:ext cx="1922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GOOGLE REVIEW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953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vpX1rVpziayYYiwhXgD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7lLBzwfefBzWaNHxVe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PHV5lbAC2jWiv6IEr.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Y4.LwI8Ec3wytb7.Eme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6Y7a6PEg75IW.zxyjv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.XLLjsyuFbfL9xAZfp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YMSSb_6.n7pSe5nBI8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BC33hh89zdlsXwZ_0uI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SMU8M4KLwHrNlqSRbJr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dK2juZbzlCl3t2ebia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nWrTaoQrA93K3YhMjt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TqTp3IbMK98kM7iRQG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Mok.GUZ993R45fs5h.K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L93XgPVlszXraA8R_CU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6PJyefSFBnXIyvqZSfb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qeag_Cs7LfBp0OTq4n9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OhgTDQ2E9eCzSzq8Ky0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GtHOul5tpOqWjcw62Da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0CVNXLZB8.B8ZEiMgr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k3fFW2SYw.PQgjBbC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YPnV_iOw1beKA.Hu8oS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HUBZz5r90acYpf5F6IN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ZezsowEReAL7QNI.dZg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8emyrsxVN7Fn9gWiMU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PAzQYqIgdh1gyWm1upI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LRuY545l4V9IkbuJyLh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2RVBgJUDjnnhwqt6OEt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kXvTpf2xZ.7_zTtQDjA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21yBDWfQY6cf9rYYYe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AyrSjff3085BS_Ngf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kZJk6sWMbb.m27EplJm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h20tYHwpvU1Pm8ABhY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gMpmNgcR0b1mPhqe.dT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jV154Pukpbn0PrTYItp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gZAFq50ZMlzmxNjdYx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qtGE8WB.lhMffWSIvLo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ThGR5pY9IiI133t6xb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GKCuXVu7vC5hRIS_vI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kvY_PEs_89pkmmpPq5z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r7guHYr76RiwfrkPl9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ZwLrM.HOsLVRivnF.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zB1wu9lT8z2h_jZQ.Gb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OuBFroA9iOGfkMX7b6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Gf4G6S5y_1nepXFdGT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cDjkfTZ0HDcQRKdVLsC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rQfXNFAWkvTmTg0PWaD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S.3JTIWA64d2KFlGamM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9RJnD47Bo9NNWhK58Lk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7iOM5I.mdnzYpTKOjxQ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5is9x09qfEZdpFKKqM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PAzQYqIgdh1gyWm1upI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e2E4nCPWqxS7QEyO8fA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knI0bhVrQBNaemGXZV4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cfXLTyzjoTj9MfHIROi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8ZnbNaWYmTsK1hKDdK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mlON86NjdTD0NOQ7EG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U4vJcfwCz0n5_ecQ.w3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3Ybgnuu7lJ5VOCdNpi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a.6v2cd.HHZy7nKkKzv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KQaoWrrAQeDnrVwmUK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CLh5MM8XTdtFgMtT3M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LRuY545l4V9IkbuJyL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KvrAkunQfv2GCcens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kaX5ARhacJnRpRtC14N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xIuYAp6UZGR42D2jKzy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M9.4tu7UVs8vumGN0Fz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ciHq00ju2Im8mJG1xQg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U0T0G_hEaDZSWes8_J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uvOkQ1C5mLJMu10A2A_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bq4asCJmXFNVsbxfHoG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wZzJWJXYjlVnYOx4LZ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RXBJ7LJqv6xSMeej5V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2RVBgJUDjnnhwqt6OEt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tncLma2XiXzTcGW43z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3aFVMQ92E5P7CDxpSh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jW5nXH.dRCuj0_xGTZ4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VFqwQvsUELulsvJe5Z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YvLzH1T0UD_P1pB46X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TPyJLGqAOIhs1Ac5Cp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xbnEZuC48jOoPJqBQRf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bE7HZBJcu.nHFt67M6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W9F4wuVS.T6xk.Cya7w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G.wEvDB4d6.qmuoTDI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kXvTpf2xZ.7_zTtQDjA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cFX7kdJFsw76Qh8BeOD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A2gb8YoZaD5yC5TWrMt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MD3G8DPULIJZCOSZS7O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HYjYyWmyol1gELPVBjU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Vqqgr2c2IKo2HhsUglP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yxyqWLQD.VLNotL5Osi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ijaniBqIPGcZ_s86RaP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xOI3hj1DwKK8U.XgQf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sEriaxub_CpPsVDSI6n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uFvJnCmSEaXtmiQUyt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21yBDWfQY6cf9rYYYex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Yg3RmnK2..tOrSwtjN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iCyBPx2ZDoMiJD1CW1F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tHZRIz6nK6l3J8DKtjt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wR4.LCSsXLnyT1B._4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odj.gqhYzrMHdKLAQm1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SE8hD_jnIKik7cvd7nO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eXRphs3cuqIC0BchJaR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1fQ403ZkPWsuWV7Uc0D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tOrvE3UgnaUdxLNgN17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Vpv2uZzog7GNQcIHL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AyrSjff3085BS_Ngfu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vHsLx_jnfX0c1Llt2O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E1RGrDkfVRpCKNGuJ1H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DgmO_zpNsdoar0fQzvG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LWocf8LoKSEcvB.qmo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vpX1rVpziayYYiwhXgD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7lLBzwfefBzWaNHxVe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PHV5lbAC2jWiv6IEr.e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Y4.LwI8Ec3wytb7.Eme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6Y7a6PEg75IW.zxyjvV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.XLLjsyuFbfL9xAZf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kZJk6sWMbb.m27EplJm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YMSSb_6.n7pSe5nBI8h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BC33hh89zdlsXwZ_0uI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SMU8M4KLwHrNlqSRbJr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dK2juZbzlCl3t2ebias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nWrTaoQrA93K3YhMjtW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TqTp3IbMK98kM7iRQGp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Mok.GUZ993R45fs5h.K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L93XgPVlszXraA8R_CU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6PJyefSFBnXIyvqZSfb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qeag_Cs7LfBp0OTq4n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h20tYHwpvU1Pm8ABhY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OhgTDQ2E9eCzSzq8Ky0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GtHOul5tpOqWjcw62Da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0CVNXLZB8.B8ZEiMgrm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k3fFW2SYw.PQgjBbCP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YPnV_iOw1beKA.Hu8oS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HUBZz5r90acYpf5F6IN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ZezsowEReAL7QNI.dZg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gMpmNgcR0b1mPhqe.dT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jV154Pukpbn0PrTYItp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gZAFq50ZMlzmxNjdYx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gl6VS0THeQmQWlAdWkb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qtGE8WB.lhMffWSIvLo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63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63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63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63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63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ThGR5pY9IiI133t6x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GKCuXVu7vC5hRIS_vI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kvY_PEs_89pkmmpPq5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r7guHYr76RiwfrkPl9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ZwLrM.HOsLVRivnF.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zB1wu9lT8z2h_jZQ.G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OuBFroA9iOGfkMX7b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Gf4G6S5y_1nepXFdG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cDjkfTZ0HDcQRKdVLs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rQfXNFAWkvTmTg0PWa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S.3JTIWA64d2KFlGam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9RJnD47Bo9NNWhK58L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7iOM5I.mdnzYpTKOjxQ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5is9x09qfEZdpFKKqM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e2E4nCPWqxS7QEyO8f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knI0bhVrQBNaemGXZV4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cfXLTyzjoTj9MfHIRO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8ZnbNaWYmTsK1hKDdK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mlON86NjdTD0NOQ7E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U4vJcfwCz0n5_ecQ.w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3Ybgnuu7lJ5VOCdNpi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a.6v2cd.HHZy7nKkKz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KQaoWrrAQeDnrVwmUK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CLh5MM8XTdtFgMtT3M4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KvrAkunQfv2GCcensA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kaX5ARhacJnRpRtC14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xIuYAp6UZGR42D2jKzy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M9.4tu7UVs8vumGN0F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ciHq00ju2Im8mJG1xQ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U0T0G_hEaDZSWes8_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uvOkQ1C5mLJMu10A2A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bq4asCJmXFNVsbxfHo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wZzJWJXYjlVnYOx4LZ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RXBJ7LJqv6xSMeej5V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tncLma2XiXzTcGW43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3aFVMQ92E5P7CDxpSh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jW5nXH.dRCuj0_xGTZ4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VFqwQvsUELulsvJe5Z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YvLzH1T0UD_P1pB46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TPyJLGqAOIhs1Ac5C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xbnEZuC48jOoPJqBQR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bE7HZBJcu.nHFt67M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W9F4wuVS.T6xk.Cya7w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G.wEvDB4d6.qmuoTDI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cFX7kdJFsw76Qh8BeO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A2gb8YoZaD5yC5TWrMt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MD3G8DPULIJZCOSZS7O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HYjYyWmyol1gELPVBj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Vqqgr2c2IKo2HhsUgl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yxyqWLQD.VLNotL5Os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ijaniBqIPGcZ_s86RaP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xOI3hj1DwKK8U.XgQ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sEriaxub_CpPsVDSI6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uFvJnCmSEaXtmiQUytU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Yg3RmnK2..tOrSwtjN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iCyBPx2ZDoMiJD1CW1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tHZRIz6nK6l3J8DKtjt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DwR4.LCSsXLnyT1B._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odj.gqhYzrMHdKLAQm1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SE8hD_jnIKik7cvd7n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eXRphs3cuqIC0BchJa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1fQ403ZkPWsuWV7Uc0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tOrvE3UgnaUdxLNgN17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Vpv2uZzog7GNQcIHL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vHsLx_jnfX0c1Llt2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E1RGrDkfVRpCKNGuJ1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DgmO_zpNsdoar0fQzv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LWocf8LoKSEcvB.qmow"/>
</p:tagLst>
</file>

<file path=ppt/theme/theme1.xml><?xml version="1.0" encoding="utf-8"?>
<a:theme xmlns:a="http://schemas.openxmlformats.org/drawingml/2006/main" name="81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2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l Futtaim_CF_DE1410 1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9DCF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E2B687F4-C80B-429C-83E3-3A7977242714}" vid="{2ED9FEF6-438C-4F08-BC00-FC2DE24B45EF}"/>
    </a:ext>
  </a:extLst>
</a:theme>
</file>

<file path=ppt/theme/theme3.xml><?xml version="1.0" encoding="utf-8"?>
<a:theme xmlns:a="http://schemas.openxmlformats.org/drawingml/2006/main" name="87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7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6.xml><?xml version="1.0" encoding="utf-8"?>
<a:theme xmlns:a="http://schemas.openxmlformats.org/drawingml/2006/main" name="1_Template PresentationGO Dark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83</TotalTime>
  <Words>783</Words>
  <Application>Microsoft Office PowerPoint</Application>
  <PresentationFormat>Widescreen</PresentationFormat>
  <Paragraphs>164</Paragraphs>
  <Slides>14</Slides>
  <Notes>9</Notes>
  <HiddenSlides>2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4" baseType="lpstr">
      <vt:lpstr>Arial</vt:lpstr>
      <vt:lpstr>Arial (Headings)</vt:lpstr>
      <vt:lpstr>Arial Black</vt:lpstr>
      <vt:lpstr>Cairo</vt:lpstr>
      <vt:lpstr>Calibri</vt:lpstr>
      <vt:lpstr>Calibri Light</vt:lpstr>
      <vt:lpstr>Daytona</vt:lpstr>
      <vt:lpstr>Helvetica</vt:lpstr>
      <vt:lpstr>Nobel-Book</vt:lpstr>
      <vt:lpstr>Segoe UI</vt:lpstr>
      <vt:lpstr>Toyota Display</vt:lpstr>
      <vt:lpstr>Verdana</vt:lpstr>
      <vt:lpstr>Wingdings</vt:lpstr>
      <vt:lpstr>81_Al Futtaim_CF_DE1410</vt:lpstr>
      <vt:lpstr>Al Futtaim_CF_DE1410</vt:lpstr>
      <vt:lpstr>87_Al Futtaim_CF_DE1410</vt:lpstr>
      <vt:lpstr>Office Theme</vt:lpstr>
      <vt:lpstr>77_Al Futtaim_CF_DE1410</vt:lpstr>
      <vt:lpstr>1_Template PresentationGO Dark</vt:lpstr>
      <vt:lpstr>think-cell Slide</vt:lpstr>
      <vt:lpstr>PowerPoint Presentation</vt:lpstr>
      <vt:lpstr>INTRODUCTION Purpose</vt:lpstr>
      <vt:lpstr>Back Office: Challenges &amp; Areas of Interest</vt:lpstr>
      <vt:lpstr>Front Office: Challenges &amp; Areas of Interest</vt:lpstr>
      <vt:lpstr>Google Review: Customer Comments</vt:lpstr>
      <vt:lpstr>Google Review: Customer Comments</vt:lpstr>
      <vt:lpstr>Google Review: Customer Comments</vt:lpstr>
      <vt:lpstr>Google Review: Customer Comments</vt:lpstr>
      <vt:lpstr>Observation: Identified Gaps</vt:lpstr>
      <vt:lpstr>Observation: Identified Gaps</vt:lpstr>
      <vt:lpstr>PowerPoint Presentation</vt:lpstr>
      <vt:lpstr>PowerPoint Presentation</vt:lpstr>
      <vt:lpstr>PowerPoint Presentation</vt:lpstr>
      <vt:lpstr>PowerPoint Presentation</vt:lpstr>
    </vt:vector>
  </TitlesOfParts>
  <Company>Al Futtaim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– DAY 2</dc:title>
  <dc:creator>Oliver Menebhi</dc:creator>
  <cp:lastModifiedBy>Fatma Alsagaf</cp:lastModifiedBy>
  <cp:revision>3</cp:revision>
  <dcterms:created xsi:type="dcterms:W3CDTF">2023-10-19T11:09:39Z</dcterms:created>
  <dcterms:modified xsi:type="dcterms:W3CDTF">2024-10-10T08:32:29Z</dcterms:modified>
</cp:coreProperties>
</file>